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1" r:id="rId3"/>
    <p:sldMasterId id="2147483747" r:id="rId4"/>
  </p:sldMasterIdLst>
  <p:notesMasterIdLst>
    <p:notesMasterId r:id="rId11"/>
  </p:notesMasterIdLst>
  <p:sldIdLst>
    <p:sldId id="2147478690" r:id="rId5"/>
    <p:sldId id="2147478882" r:id="rId6"/>
    <p:sldId id="2147478815" r:id="rId7"/>
    <p:sldId id="2147482419" r:id="rId8"/>
    <p:sldId id="2147469885" r:id="rId9"/>
    <p:sldId id="214748241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65806" autoAdjust="0"/>
  </p:normalViewPr>
  <p:slideViewPr>
    <p:cSldViewPr snapToGrid="0">
      <p:cViewPr varScale="1">
        <p:scale>
          <a:sx n="55" d="100"/>
          <a:sy n="55" d="100"/>
        </p:scale>
        <p:origin x="1699"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48490B-7924-4900-8A85-4B0FCBB5B763}" type="datetimeFigureOut">
              <a:rPr lang="en-US" smtClean="0"/>
              <a:t>1/1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6B6F36-4C15-4CE6-86B0-E3CFF89F15CB}" type="slidenum">
              <a:rPr lang="en-US" smtClean="0"/>
              <a:t>‹#›</a:t>
            </a:fld>
            <a:endParaRPr lang="en-US"/>
          </a:p>
        </p:txBody>
      </p:sp>
    </p:spTree>
    <p:extLst>
      <p:ext uri="{BB962C8B-B14F-4D97-AF65-F5344CB8AC3E}">
        <p14:creationId xmlns:p14="http://schemas.microsoft.com/office/powerpoint/2010/main" val="19149413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roduction of my backgrou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ears in indust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 have so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ublish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ducational, not sales pitch…but need to hit a few things or they won’t let me do ev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34784-C513-4FF4-89AD-7338A136AA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382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4"/>
        <p:cNvGrpSpPr/>
        <p:nvPr/>
      </p:nvGrpSpPr>
      <p:grpSpPr>
        <a:xfrm>
          <a:off x="0" y="0"/>
          <a:ext cx="0" cy="0"/>
          <a:chOff x="0" y="0"/>
          <a:chExt cx="0" cy="0"/>
        </a:xfrm>
      </p:grpSpPr>
      <p:sp>
        <p:nvSpPr>
          <p:cNvPr id="1845" name="Google Shape;1845;g10e4e7adfc3_0_68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6" name="Google Shape;1846;g10e4e7adfc3_0_68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0" dirty="0">
                <a:effectLst/>
                <a:latin typeface="Calibri" panose="020F0502020204030204" pitchFamily="34" charset="0"/>
                <a:ea typeface="Calibri" panose="020F0502020204030204" pitchFamily="34" charset="0"/>
              </a:rPr>
              <a:t>Three segments with checks/balances</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800" b="0" kern="100" dirty="0">
                <a:effectLst/>
                <a:latin typeface="Calibri" panose="020F0502020204030204" pitchFamily="34" charset="0"/>
                <a:ea typeface="Calibri" panose="020F0502020204030204" pitchFamily="34" charset="0"/>
                <a:cs typeface="Times New Roman" panose="02020603050405020304" pitchFamily="18" charset="0"/>
              </a:rPr>
              <a:t>Detect/Respond combined for a reason</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20492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cs typeface="Calibri"/>
              </a:rPr>
              <a:t>Everyone knows we sell networks (Versa with Palo Alto, Meraki now, and Fortinet)  This is for Fortinet—62% of all breaches occur at the perimeter</a:t>
            </a:r>
          </a:p>
          <a:p>
            <a:r>
              <a:rPr lang="en-US" dirty="0">
                <a:cs typeface="Calibri"/>
              </a:rPr>
              <a:t>EDR—We use S1—92% of all compromises are the result of human error (phishing, misconfigurations, etc.)</a:t>
            </a:r>
          </a:p>
          <a:p>
            <a:r>
              <a:rPr lang="en-US" dirty="0">
                <a:cs typeface="Calibri"/>
              </a:rPr>
              <a:t>MDR—holistic approach…only company authorized for Rapid7</a:t>
            </a:r>
          </a:p>
          <a:p>
            <a:endParaRPr lang="en-US" dirty="0">
              <a:cs typeface="Calibri"/>
            </a:endParaRPr>
          </a:p>
          <a:p>
            <a:pPr lvl="1"/>
            <a:endParaRPr lang="en-US" dirty="0">
              <a:cs typeface="Calibri"/>
            </a:endParaRPr>
          </a:p>
          <a:p>
            <a:pPr lvl="0"/>
            <a:endParaRPr lang="en-US" dirty="0">
              <a:cs typeface="Calibri"/>
            </a:endParaRPr>
          </a:p>
          <a:p>
            <a:pPr lvl="1"/>
            <a:endParaRPr lang="en-US" dirty="0">
              <a:cs typeface="Calibri"/>
            </a:endParaRPr>
          </a:p>
        </p:txBody>
      </p:sp>
      <p:sp>
        <p:nvSpPr>
          <p:cNvPr id="4" name="Slide Number Placeholder 3"/>
          <p:cNvSpPr>
            <a:spLocks noGrp="1"/>
          </p:cNvSpPr>
          <p:nvPr>
            <p:ph type="sldNum" sz="quarter" idx="5"/>
          </p:nvPr>
        </p:nvSpPr>
        <p:spPr/>
        <p:txBody>
          <a:bodyPr/>
          <a:lstStyle/>
          <a:p>
            <a:fld id="{7CFF3C7E-F67E-4F33-A875-A2A8264CC4B9}" type="slidenum">
              <a:rPr lang="en-US" smtClean="0"/>
              <a:t>3</a:t>
            </a:fld>
            <a:endParaRPr lang="en-US"/>
          </a:p>
        </p:txBody>
      </p:sp>
    </p:spTree>
    <p:extLst>
      <p:ext uri="{BB962C8B-B14F-4D97-AF65-F5344CB8AC3E}">
        <p14:creationId xmlns:p14="http://schemas.microsoft.com/office/powerpoint/2010/main" val="1072850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marR="0" lvl="0" indent="-266700" algn="l" rtl="0">
              <a:lnSpc>
                <a:spcPct val="90000"/>
              </a:lnSpc>
              <a:spcBef>
                <a:spcPts val="1000"/>
              </a:spcBef>
              <a:spcAft>
                <a:spcPts val="0"/>
              </a:spcAft>
              <a:buSzPts val="1700"/>
              <a:buFont typeface="Noto Sans Symbols"/>
              <a:buChar char="▪"/>
            </a:pPr>
            <a:r>
              <a:rPr lang="en-US" sz="1200" dirty="0"/>
              <a:t>Across all three areas is the SOC</a:t>
            </a:r>
          </a:p>
          <a:p>
            <a:pPr marL="285750" marR="0" lvl="0" indent="-266700" algn="l" rtl="0">
              <a:lnSpc>
                <a:spcPct val="90000"/>
              </a:lnSpc>
              <a:spcBef>
                <a:spcPts val="1000"/>
              </a:spcBef>
              <a:spcAft>
                <a:spcPts val="0"/>
              </a:spcAft>
              <a:buSzPts val="1700"/>
              <a:buFont typeface="Noto Sans Symbols"/>
              <a:buChar char="▪"/>
            </a:pPr>
            <a:r>
              <a:rPr lang="en-US" sz="1200" dirty="0"/>
              <a:t>Staffed with analysts/engineers, not ticket takers</a:t>
            </a:r>
          </a:p>
          <a:p>
            <a:pPr marL="285750" marR="0" lvl="0" indent="-266700" algn="l" rtl="0">
              <a:lnSpc>
                <a:spcPct val="90000"/>
              </a:lnSpc>
              <a:spcBef>
                <a:spcPts val="1000"/>
              </a:spcBef>
              <a:spcAft>
                <a:spcPts val="0"/>
              </a:spcAft>
              <a:buSzPts val="1700"/>
              <a:buFont typeface="Noto Sans Symbols"/>
              <a:buChar char="▪"/>
            </a:pPr>
            <a:r>
              <a:rPr lang="en-US" sz="1200" dirty="0"/>
              <a:t>Pod structure vs a dedicated analyst (24x7 job)</a:t>
            </a:r>
          </a:p>
          <a:p>
            <a:pPr marL="285750" marR="0" lvl="0" indent="-266700" algn="l" rtl="0">
              <a:lnSpc>
                <a:spcPct val="90000"/>
              </a:lnSpc>
              <a:spcBef>
                <a:spcPts val="1000"/>
              </a:spcBef>
              <a:spcAft>
                <a:spcPts val="0"/>
              </a:spcAft>
              <a:buSzPts val="1700"/>
              <a:buFont typeface="Noto Sans Symbols"/>
              <a:buChar char="▪"/>
            </a:pPr>
            <a:r>
              <a:rPr lang="en-US" sz="1200" dirty="0"/>
              <a:t>Tuning assistance vs out of the box (use awareness training numbers)</a:t>
            </a:r>
          </a:p>
          <a:p>
            <a:pPr marL="285750" marR="0" lvl="0" indent="-266700" algn="l" rtl="0">
              <a:lnSpc>
                <a:spcPct val="90000"/>
              </a:lnSpc>
              <a:spcBef>
                <a:spcPts val="1000"/>
              </a:spcBef>
              <a:spcAft>
                <a:spcPts val="0"/>
              </a:spcAft>
              <a:buSzPts val="1700"/>
              <a:buFont typeface="Noto Sans Symbols"/>
              <a:buChar char="▪"/>
            </a:pPr>
            <a:r>
              <a:rPr lang="en-US" sz="1200" dirty="0"/>
              <a:t>Customized response procedures</a:t>
            </a:r>
          </a:p>
          <a:p>
            <a:pPr marL="285750" marR="0" lvl="0" indent="-266700" algn="l" rtl="0">
              <a:lnSpc>
                <a:spcPct val="90000"/>
              </a:lnSpc>
              <a:spcBef>
                <a:spcPts val="1000"/>
              </a:spcBef>
              <a:spcAft>
                <a:spcPts val="0"/>
              </a:spcAft>
              <a:buSzPts val="1700"/>
              <a:buFont typeface="Noto Sans Symbols"/>
              <a:buChar char="▪"/>
            </a:pPr>
            <a:endParaRPr lang="en-US" sz="1200" dirty="0"/>
          </a:p>
          <a:p>
            <a:pPr marL="285750" marR="0" lvl="0" indent="-266700" algn="l" rtl="0">
              <a:lnSpc>
                <a:spcPct val="90000"/>
              </a:lnSpc>
              <a:spcBef>
                <a:spcPts val="1000"/>
              </a:spcBef>
              <a:spcAft>
                <a:spcPts val="0"/>
              </a:spcAft>
              <a:buSzPts val="1700"/>
              <a:buFont typeface="Noto Sans Symbols"/>
              <a:buChar char="▪"/>
            </a:pPr>
            <a:r>
              <a:rPr lang="en-US" sz="1200" dirty="0"/>
              <a:t>Provide alerts with all supporting documentation</a:t>
            </a:r>
          </a:p>
          <a:p>
            <a:pPr marL="742950" marR="0" lvl="1" indent="-266700" algn="l" rtl="0">
              <a:lnSpc>
                <a:spcPct val="90000"/>
              </a:lnSpc>
              <a:spcBef>
                <a:spcPts val="1000"/>
              </a:spcBef>
              <a:spcAft>
                <a:spcPts val="0"/>
              </a:spcAft>
              <a:buSzPts val="1700"/>
              <a:buFont typeface="Noto Sans Symbols"/>
              <a:buChar char="▪"/>
            </a:pPr>
            <a:r>
              <a:rPr lang="en-US" sz="1200" dirty="0"/>
              <a:t>What happened</a:t>
            </a:r>
          </a:p>
          <a:p>
            <a:pPr marL="742950" marR="0" lvl="1" indent="-266700" algn="l" rtl="0">
              <a:lnSpc>
                <a:spcPct val="90000"/>
              </a:lnSpc>
              <a:spcBef>
                <a:spcPts val="1000"/>
              </a:spcBef>
              <a:spcAft>
                <a:spcPts val="0"/>
              </a:spcAft>
              <a:buSzPts val="1700"/>
              <a:buFont typeface="Noto Sans Symbols"/>
              <a:buChar char="▪"/>
            </a:pPr>
            <a:r>
              <a:rPr lang="en-US" sz="1200" dirty="0"/>
              <a:t>How it happened</a:t>
            </a:r>
          </a:p>
          <a:p>
            <a:pPr marL="742950" marR="0" lvl="1" indent="-266700" algn="l" rtl="0">
              <a:lnSpc>
                <a:spcPct val="90000"/>
              </a:lnSpc>
              <a:spcBef>
                <a:spcPts val="1000"/>
              </a:spcBef>
              <a:spcAft>
                <a:spcPts val="0"/>
              </a:spcAft>
              <a:buSzPts val="1700"/>
              <a:buFont typeface="Noto Sans Symbols"/>
              <a:buChar char="▪"/>
            </a:pPr>
            <a:r>
              <a:rPr lang="en-US" sz="1200" dirty="0"/>
              <a:t>Supporting documentation showing that conclusion</a:t>
            </a:r>
          </a:p>
          <a:p>
            <a:pPr marL="742950" marR="0" lvl="1" indent="-266700" algn="l" rtl="0">
              <a:lnSpc>
                <a:spcPct val="90000"/>
              </a:lnSpc>
              <a:spcBef>
                <a:spcPts val="1000"/>
              </a:spcBef>
              <a:spcAft>
                <a:spcPts val="0"/>
              </a:spcAft>
              <a:buSzPts val="1700"/>
              <a:buFont typeface="Noto Sans Symbols"/>
              <a:buChar char="▪"/>
            </a:pPr>
            <a:r>
              <a:rPr lang="en-US" sz="1200" dirty="0"/>
              <a:t>Risk tied to MITRE</a:t>
            </a:r>
          </a:p>
          <a:p>
            <a:pPr marL="742950" marR="0" lvl="1" indent="-266700" algn="l" rtl="0">
              <a:lnSpc>
                <a:spcPct val="90000"/>
              </a:lnSpc>
              <a:spcBef>
                <a:spcPts val="1000"/>
              </a:spcBef>
              <a:spcAft>
                <a:spcPts val="0"/>
              </a:spcAft>
              <a:buSzPts val="1700"/>
              <a:buFont typeface="Noto Sans Symbols"/>
              <a:buChar char="▪"/>
            </a:pPr>
            <a:r>
              <a:rPr lang="en-US" sz="1200" dirty="0"/>
              <a:t>What we did to mitigate, if possible</a:t>
            </a:r>
          </a:p>
          <a:p>
            <a:pPr marL="742950" marR="0" lvl="1" indent="-266700" algn="l" rtl="0">
              <a:lnSpc>
                <a:spcPct val="90000"/>
              </a:lnSpc>
              <a:spcBef>
                <a:spcPts val="1000"/>
              </a:spcBef>
              <a:spcAft>
                <a:spcPts val="0"/>
              </a:spcAft>
              <a:buSzPts val="1700"/>
              <a:buFont typeface="Noto Sans Symbols"/>
              <a:buChar char="▪"/>
            </a:pPr>
            <a:r>
              <a:rPr lang="en-US" sz="1200" dirty="0"/>
              <a:t>Detailed steps to follow to remediate</a:t>
            </a:r>
          </a:p>
          <a:p>
            <a:pPr marL="285750" marR="0" lvl="0" indent="-266700" algn="l" rtl="0">
              <a:lnSpc>
                <a:spcPct val="90000"/>
              </a:lnSpc>
              <a:spcBef>
                <a:spcPts val="1000"/>
              </a:spcBef>
              <a:spcAft>
                <a:spcPts val="0"/>
              </a:spcAft>
              <a:buSzPts val="1700"/>
              <a:buFont typeface="Noto Sans Symbols"/>
              <a:buChar char="▪"/>
            </a:pPr>
            <a:endParaRPr lang="en-US" sz="1200" dirty="0"/>
          </a:p>
          <a:p>
            <a:pPr marL="285750" marR="0" lvl="0" indent="-266700" algn="l" rtl="0">
              <a:lnSpc>
                <a:spcPct val="90000"/>
              </a:lnSpc>
              <a:spcBef>
                <a:spcPts val="1000"/>
              </a:spcBef>
              <a:spcAft>
                <a:spcPts val="0"/>
              </a:spcAft>
              <a:buSzPts val="1700"/>
              <a:buFont typeface="Noto Sans Symbols"/>
              <a:buChar char="▪"/>
            </a:pPr>
            <a:r>
              <a:rPr lang="en-US" sz="1200" dirty="0"/>
              <a:t>Save staff time on research  (We do the research so the customer can focus on resolving issues, not finding them)</a:t>
            </a:r>
          </a:p>
          <a:p>
            <a:pPr marL="285750" marR="0" lvl="0" indent="-266700" algn="l" rtl="0">
              <a:lnSpc>
                <a:spcPct val="90000"/>
              </a:lnSpc>
              <a:spcBef>
                <a:spcPts val="1000"/>
              </a:spcBef>
              <a:spcAft>
                <a:spcPts val="0"/>
              </a:spcAft>
              <a:buSzPts val="1700"/>
              <a:buFont typeface="Noto Sans Symbols"/>
              <a:buChar char="▪"/>
            </a:pPr>
            <a:r>
              <a:rPr lang="en-US" sz="1200" dirty="0"/>
              <a:t>Guidance on future security investments for best value on those investments</a:t>
            </a:r>
          </a:p>
          <a:p>
            <a:pPr marL="285750" marR="0" lvl="0" indent="-266700" algn="l" rtl="0">
              <a:lnSpc>
                <a:spcPct val="90000"/>
              </a:lnSpc>
              <a:spcBef>
                <a:spcPts val="1000"/>
              </a:spcBef>
              <a:spcAft>
                <a:spcPts val="0"/>
              </a:spcAft>
              <a:buSzPts val="1700"/>
              <a:buFont typeface="Noto Sans Symbols"/>
              <a:buChar char="▪"/>
            </a:pPr>
            <a:endParaRPr lang="en-US" sz="1200" dirty="0"/>
          </a:p>
          <a:p>
            <a:pPr marL="285750" marR="0" lvl="0" indent="-266700" algn="l" rtl="0">
              <a:lnSpc>
                <a:spcPct val="90000"/>
              </a:lnSpc>
              <a:spcBef>
                <a:spcPts val="1000"/>
              </a:spcBef>
              <a:spcAft>
                <a:spcPts val="0"/>
              </a:spcAft>
              <a:buSzPts val="1700"/>
              <a:buFont typeface="Noto Sans Symbols"/>
              <a:buChar char="▪"/>
            </a:pPr>
            <a:r>
              <a:rPr lang="en-US" sz="1200" dirty="0"/>
              <a:t>Partnership and Operational Efficiency</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437AA6E-82FE-47BC-9820-BB5967870FAA}"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589390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1"/>
        <p:cNvGrpSpPr/>
        <p:nvPr/>
      </p:nvGrpSpPr>
      <p:grpSpPr>
        <a:xfrm>
          <a:off x="0" y="0"/>
          <a:ext cx="0" cy="0"/>
          <a:chOff x="0" y="0"/>
          <a:chExt cx="0" cy="0"/>
        </a:xfrm>
      </p:grpSpPr>
      <p:sp>
        <p:nvSpPr>
          <p:cNvPr id="382" name="Google Shape;382;g112b1495213_0_166:notes"/>
          <p:cNvSpPr>
            <a:spLocks noGrp="1" noRot="1" noChangeAspect="1"/>
          </p:cNvSpPr>
          <p:nvPr>
            <p:ph type="sldImg" idx="2"/>
          </p:nvPr>
        </p:nvSpPr>
        <p:spPr>
          <a:xfrm>
            <a:off x="711200" y="1154113"/>
            <a:ext cx="5541963"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3" name="Google Shape;383;g112b1495213_0_166:notes"/>
          <p:cNvSpPr txBox="1">
            <a:spLocks noGrp="1"/>
          </p:cNvSpPr>
          <p:nvPr>
            <p:ph type="body" idx="1"/>
          </p:nvPr>
        </p:nvSpPr>
        <p:spPr>
          <a:xfrm>
            <a:off x="696437" y="4444861"/>
            <a:ext cx="5571490" cy="3636856"/>
          </a:xfrm>
          <a:prstGeom prst="rect">
            <a:avLst/>
          </a:prstGeom>
          <a:noFill/>
          <a:ln>
            <a:noFill/>
          </a:ln>
        </p:spPr>
        <p:txBody>
          <a:bodyPr spcFirstLastPara="1" wrap="square" lIns="92559" tIns="46267" rIns="92559" bIns="46267" anchor="t" anchorCtr="0">
            <a:noAutofit/>
          </a:bodyPr>
          <a:lstStyle/>
          <a:p>
            <a:pPr marL="462280" indent="-212090">
              <a:buFont typeface="Calibri"/>
              <a:buChar char="•"/>
            </a:pPr>
            <a:r>
              <a:rPr lang="en-US" dirty="0"/>
              <a:t>AV Going away</a:t>
            </a:r>
          </a:p>
          <a:p>
            <a:pPr marL="462280" indent="-212090">
              <a:buFont typeface="Calibri"/>
              <a:buChar char="•"/>
            </a:pPr>
            <a:r>
              <a:rPr lang="en-US" dirty="0"/>
              <a:t>Mark Goodman Future Crimes estimated 1 million new malware daily</a:t>
            </a:r>
          </a:p>
          <a:p>
            <a:pPr marL="462280" indent="-212090">
              <a:buFont typeface="Calibri"/>
              <a:buChar char="•"/>
            </a:pPr>
            <a:endParaRPr lang="en-US" dirty="0"/>
          </a:p>
          <a:p>
            <a:pPr marL="462280" indent="-212090">
              <a:buFont typeface="Calibri"/>
              <a:buChar char="•"/>
            </a:pPr>
            <a:r>
              <a:rPr lang="en-US" dirty="0"/>
              <a:t>Light switch vs dimmer</a:t>
            </a:r>
          </a:p>
          <a:p>
            <a:pPr marL="462280" indent="-212090">
              <a:buFont typeface="Calibri"/>
              <a:buChar char="•"/>
            </a:pPr>
            <a:endParaRPr lang="en-US" dirty="0"/>
          </a:p>
          <a:p>
            <a:pPr marL="462280" indent="-212090">
              <a:buFont typeface="Calibri"/>
              <a:buChar char="•"/>
            </a:pPr>
            <a:r>
              <a:rPr lang="en-US" dirty="0"/>
              <a:t>Best value in the industry (93% of all issues are human error related)</a:t>
            </a:r>
          </a:p>
        </p:txBody>
      </p:sp>
      <p:sp>
        <p:nvSpPr>
          <p:cNvPr id="384" name="Google Shape;384;g112b1495213_0_166:notes"/>
          <p:cNvSpPr txBox="1">
            <a:spLocks noGrp="1"/>
          </p:cNvSpPr>
          <p:nvPr>
            <p:ph type="sldNum" idx="12"/>
          </p:nvPr>
        </p:nvSpPr>
        <p:spPr>
          <a:xfrm>
            <a:off x="3944861" y="8772668"/>
            <a:ext cx="3017891" cy="463319"/>
          </a:xfrm>
          <a:prstGeom prst="rect">
            <a:avLst/>
          </a:prstGeom>
          <a:noFill/>
          <a:ln>
            <a:noFill/>
          </a:ln>
        </p:spPr>
        <p:txBody>
          <a:bodyPr spcFirstLastPara="1" wrap="square" lIns="92559" tIns="46267" rIns="92559" bIns="46267" anchor="b" anchorCtr="0">
            <a:noAutofit/>
          </a:bodyPr>
          <a:lstStyle/>
          <a:p>
            <a:pPr marL="0" marR="0" lvl="0" indent="0" algn="r" defTabSz="9144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Pts val="1200"/>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73203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rehensive approach, targeting system</a:t>
            </a:r>
          </a:p>
          <a:p>
            <a:r>
              <a:rPr lang="en-US" dirty="0"/>
              <a:t>Compliments EDR, not replaces it, as two primary functions are different</a:t>
            </a:r>
          </a:p>
          <a:p>
            <a:endParaRPr lang="en-US" dirty="0"/>
          </a:p>
          <a:p>
            <a:r>
              <a:rPr lang="en-US" dirty="0"/>
              <a:t>Hit on specialization in security and importance of working with security vendors that understand their niche and can work with others in partnership to improve joint customer security posture</a:t>
            </a:r>
          </a:p>
        </p:txBody>
      </p:sp>
      <p:sp>
        <p:nvSpPr>
          <p:cNvPr id="4" name="Slide Number Placeholder 3"/>
          <p:cNvSpPr>
            <a:spLocks noGrp="1"/>
          </p:cNvSpPr>
          <p:nvPr>
            <p:ph type="sldNum" sz="quarter" idx="5"/>
          </p:nvPr>
        </p:nvSpPr>
        <p:spPr/>
        <p:txBody>
          <a:bodyPr/>
          <a:lstStyle/>
          <a:p>
            <a:fld id="{1D6B6F36-4C15-4CE6-86B0-E3CFF89F15CB}" type="slidenum">
              <a:rPr lang="en-US" smtClean="0"/>
              <a:t>6</a:t>
            </a:fld>
            <a:endParaRPr lang="en-US"/>
          </a:p>
        </p:txBody>
      </p:sp>
    </p:spTree>
    <p:extLst>
      <p:ext uri="{BB962C8B-B14F-4D97-AF65-F5344CB8AC3E}">
        <p14:creationId xmlns:p14="http://schemas.microsoft.com/office/powerpoint/2010/main" val="13429641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userDrawn="1"/>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2" name="Freeform 11">
            <a:extLst>
              <a:ext uri="{FF2B5EF4-FFF2-40B4-BE49-F238E27FC236}">
                <a16:creationId xmlns:a16="http://schemas.microsoft.com/office/drawing/2014/main" id="{0A0EA6BB-F6D4-3648-5AFF-D4F39A3C5357}"/>
              </a:ext>
            </a:extLst>
          </p:cNvPr>
          <p:cNvSpPr/>
          <p:nvPr userDrawn="1"/>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userDrawn="1">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a:p>
        </p:txBody>
      </p:sp>
      <p:sp>
        <p:nvSpPr>
          <p:cNvPr id="3" name="Subtitle 2"/>
          <p:cNvSpPr>
            <a:spLocks noGrp="1"/>
          </p:cNvSpPr>
          <p:nvPr userDrawn="1">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FD78CF55-0C25-4C23-2C35-E1A9DABADB84}"/>
              </a:ext>
            </a:extLst>
          </p:cNvPr>
          <p:cNvSpPr>
            <a:spLocks noGrp="1"/>
          </p:cNvSpPr>
          <p:nvPr userDrawn="1">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a:p>
        </p:txBody>
      </p:sp>
      <p:pic>
        <p:nvPicPr>
          <p:cNvPr id="4" name="Picture 3">
            <a:extLst>
              <a:ext uri="{FF2B5EF4-FFF2-40B4-BE49-F238E27FC236}">
                <a16:creationId xmlns:a16="http://schemas.microsoft.com/office/drawing/2014/main" id="{A792244F-93E6-9721-B61F-900341CC436E}"/>
              </a:ext>
            </a:extLst>
          </p:cNvPr>
          <p:cNvPicPr>
            <a:picLocks noChangeAspect="1"/>
          </p:cNvPicPr>
          <p:nvPr userDrawn="1"/>
        </p:nvPicPr>
        <p:blipFill>
          <a:blip r:embed="rId2"/>
          <a:stretch>
            <a:fillRect/>
          </a:stretch>
        </p:blipFill>
        <p:spPr>
          <a:xfrm>
            <a:off x="10359107" y="4924558"/>
            <a:ext cx="1460789" cy="1095592"/>
          </a:xfrm>
          <a:prstGeom prst="rect">
            <a:avLst/>
          </a:prstGeom>
        </p:spPr>
      </p:pic>
    </p:spTree>
    <p:extLst>
      <p:ext uri="{BB962C8B-B14F-4D97-AF65-F5344CB8AC3E}">
        <p14:creationId xmlns:p14="http://schemas.microsoft.com/office/powerpoint/2010/main" val="2065605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4B0ED8DB-84B1-4EAA-BC65-0B9B530EC627}" type="slidenum">
              <a:rPr lang="en-US"/>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Tree>
    <p:extLst>
      <p:ext uri="{BB962C8B-B14F-4D97-AF65-F5344CB8AC3E}">
        <p14:creationId xmlns:p14="http://schemas.microsoft.com/office/powerpoint/2010/main" val="27045990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cSld name="Title Slide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Date Placeholder 3">
            <a:extLst>
              <a:ext uri="{FF2B5EF4-FFF2-40B4-BE49-F238E27FC236}">
                <a16:creationId xmlns:a16="http://schemas.microsoft.com/office/drawing/2014/main" id="{F401EEEA-1244-FE4E-A9EA-D372BEB5EFD2}"/>
              </a:ext>
            </a:extLst>
          </p:cNvPr>
          <p:cNvSpPr>
            <a:spLocks noGrp="1"/>
          </p:cNvSpPr>
          <p:nvPr>
            <p:ph type="dt" sz="half" idx="10"/>
          </p:nvPr>
        </p:nvSpPr>
        <p:spPr>
          <a:xfrm>
            <a:off x="457200" y="6108700"/>
            <a:ext cx="4114800" cy="274638"/>
          </a:xfrm>
        </p:spPr>
        <p:txBody>
          <a:bodyPr/>
          <a:lstStyle>
            <a:lvl1pPr>
              <a:defRPr sz="1400">
                <a:solidFill>
                  <a:schemeClr val="accent2"/>
                </a:solidFill>
              </a:defRPr>
            </a:lvl1pPr>
          </a:lstStyle>
          <a:p>
            <a:pPr>
              <a:defRPr/>
            </a:pPr>
            <a:endParaRPr lang="en-US"/>
          </a:p>
        </p:txBody>
      </p:sp>
      <p:pic>
        <p:nvPicPr>
          <p:cNvPr id="4" name="Graphic 3">
            <a:extLst>
              <a:ext uri="{FF2B5EF4-FFF2-40B4-BE49-F238E27FC236}">
                <a16:creationId xmlns:a16="http://schemas.microsoft.com/office/drawing/2014/main" id="{63090CA4-D872-F07F-3352-17AE0EBDDB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41431610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CAC96-641B-EE10-C114-72B0DF4AC89D}"/>
              </a:ext>
            </a:extLst>
          </p:cNvPr>
          <p:cNvSpPr>
            <a:spLocks noGrp="1"/>
          </p:cNvSpPr>
          <p:nvPr>
            <p:ph type="title" hasCustomPrompt="1"/>
          </p:nvPr>
        </p:nvSpPr>
        <p:spPr/>
        <p:txBody>
          <a:bodyPr/>
          <a:lstStyle>
            <a:lvl1pPr>
              <a:defRPr/>
            </a:lvl1pPr>
          </a:lstStyle>
          <a:p>
            <a:r>
              <a:rPr lang="en-US" dirty="0"/>
              <a:t> </a:t>
            </a:r>
          </a:p>
        </p:txBody>
      </p:sp>
      <p:sp>
        <p:nvSpPr>
          <p:cNvPr id="3" name="Date Placeholder 2">
            <a:extLst>
              <a:ext uri="{FF2B5EF4-FFF2-40B4-BE49-F238E27FC236}">
                <a16:creationId xmlns:a16="http://schemas.microsoft.com/office/drawing/2014/main" id="{72B38897-DE04-7B89-C2B4-4CEF1EF5AD5D}"/>
              </a:ext>
            </a:extLst>
          </p:cNvPr>
          <p:cNvSpPr>
            <a:spLocks noGrp="1"/>
          </p:cNvSpPr>
          <p:nvPr>
            <p:ph type="dt" sz="half" idx="10"/>
          </p:nvPr>
        </p:nvSpPr>
        <p:spPr/>
        <p:txBody>
          <a:bodyPr/>
          <a:lstStyle/>
          <a:p>
            <a:r>
              <a:rPr lang="en-US" dirty="0"/>
              <a:t> </a:t>
            </a:r>
          </a:p>
        </p:txBody>
      </p:sp>
      <p:sp>
        <p:nvSpPr>
          <p:cNvPr id="4" name="Footer Placeholder 3">
            <a:extLst>
              <a:ext uri="{FF2B5EF4-FFF2-40B4-BE49-F238E27FC236}">
                <a16:creationId xmlns:a16="http://schemas.microsoft.com/office/drawing/2014/main" id="{B18DC472-28A9-E3C1-7FCF-D83EADFA4E4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1CA396C-3701-515F-497E-81E2F39DBC8C}"/>
              </a:ext>
            </a:extLst>
          </p:cNvPr>
          <p:cNvSpPr>
            <a:spLocks noGrp="1"/>
          </p:cNvSpPr>
          <p:nvPr>
            <p:ph type="sldNum" sz="quarter" idx="12"/>
          </p:nvPr>
        </p:nvSpPr>
        <p:spPr/>
        <p:txBody>
          <a:bodyPr/>
          <a:lstStyle/>
          <a:p>
            <a:fld id="{895EF941-2948-43AF-8C67-2CD7B793945E}" type="slidenum">
              <a:rPr lang="en-US" smtClean="0"/>
              <a:t>‹#›</a:t>
            </a:fld>
            <a:endParaRPr lang="en-US"/>
          </a:p>
        </p:txBody>
      </p:sp>
    </p:spTree>
    <p:extLst>
      <p:ext uri="{BB962C8B-B14F-4D97-AF65-F5344CB8AC3E}">
        <p14:creationId xmlns:p14="http://schemas.microsoft.com/office/powerpoint/2010/main" val="161070291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Split 1">
    <p:bg>
      <p:bgPr>
        <a:solidFill>
          <a:schemeClr val="accent1"/>
        </a:solidFill>
        <a:effectLst/>
      </p:bgPr>
    </p:bg>
    <p:spTree>
      <p:nvGrpSpPr>
        <p:cNvPr id="1" name=""/>
        <p:cNvGrpSpPr/>
        <p:nvPr/>
      </p:nvGrpSpPr>
      <p:grpSpPr>
        <a:xfrm>
          <a:off x="0" y="0"/>
          <a:ext cx="0" cy="0"/>
          <a:chOff x="0" y="0"/>
          <a:chExt cx="0" cy="0"/>
        </a:xfrm>
      </p:grpSpPr>
      <p:sp>
        <p:nvSpPr>
          <p:cNvPr id="6" name="Rectangle: Single Corner Rounded 9">
            <a:extLst>
              <a:ext uri="{FF2B5EF4-FFF2-40B4-BE49-F238E27FC236}">
                <a16:creationId xmlns:a16="http://schemas.microsoft.com/office/drawing/2014/main" id="{183672F1-480E-734B-A924-0662A89D0D36}"/>
              </a:ext>
            </a:extLst>
          </p:cNvPr>
          <p:cNvSpPr/>
          <p:nvPr/>
        </p:nvSpPr>
        <p:spPr>
          <a:xfrm flipH="1">
            <a:off x="6448425" y="2286000"/>
            <a:ext cx="5768975" cy="4579938"/>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48205" y="1645920"/>
            <a:ext cx="5486400" cy="45066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6705601" y="2560320"/>
            <a:ext cx="5029200" cy="3622993"/>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5">
            <a:extLst>
              <a:ext uri="{FF2B5EF4-FFF2-40B4-BE49-F238E27FC236}">
                <a16:creationId xmlns:a16="http://schemas.microsoft.com/office/drawing/2014/main" id="{559A05BA-B525-4842-AC7A-2268A0A02981}"/>
              </a:ext>
            </a:extLst>
          </p:cNvPr>
          <p:cNvSpPr>
            <a:spLocks noGrp="1"/>
          </p:cNvSpPr>
          <p:nvPr>
            <p:ph type="ftr" sz="quarter" idx="14"/>
          </p:nvPr>
        </p:nvSpPr>
        <p:spPr/>
        <p:txBody>
          <a:bodyPr/>
          <a:lstStyle>
            <a:lvl1pPr>
              <a:defRPr lang="en-US" b="0" i="0" u="none" strike="noStrike" smtClean="0">
                <a:solidFill>
                  <a:schemeClr val="bg1"/>
                </a:solidFill>
                <a:effectLst/>
              </a:defRPr>
            </a:lvl1pPr>
          </a:lstStyle>
          <a:p>
            <a:pPr>
              <a:defRPr/>
            </a:pPr>
            <a:r>
              <a:rPr lang="en-US" dirty="0"/>
              <a:t>© 2022 Comcast.  All rights reserved.</a:t>
            </a:r>
          </a:p>
        </p:txBody>
      </p:sp>
      <p:sp>
        <p:nvSpPr>
          <p:cNvPr id="12" name="Slide Number Placeholder 6">
            <a:extLst>
              <a:ext uri="{FF2B5EF4-FFF2-40B4-BE49-F238E27FC236}">
                <a16:creationId xmlns:a16="http://schemas.microsoft.com/office/drawing/2014/main" id="{BC2E88B8-CED2-FA47-A24B-88E0CEC420A2}"/>
              </a:ext>
            </a:extLst>
          </p:cNvPr>
          <p:cNvSpPr>
            <a:spLocks noGrp="1"/>
          </p:cNvSpPr>
          <p:nvPr>
            <p:ph type="sldNum" sz="quarter" idx="15"/>
          </p:nvPr>
        </p:nvSpPr>
        <p:spPr/>
        <p:txBody>
          <a:bodyPr/>
          <a:lstStyle>
            <a:lvl1pPr>
              <a:defRPr>
                <a:solidFill>
                  <a:schemeClr val="tx1"/>
                </a:solidFill>
              </a:defRPr>
            </a:lvl1pPr>
          </a:lstStyle>
          <a:p>
            <a:pPr>
              <a:defRPr/>
            </a:pPr>
            <a:fld id="{903B5998-5E8F-8D44-934B-7DDC3A3BD5B2}" type="slidenum">
              <a:rPr lang="en-US"/>
              <a:pPr>
                <a:defRPr/>
              </a:pPr>
              <a:t>‹#›</a:t>
            </a:fld>
            <a:endParaRPr lang="en-US"/>
          </a:p>
        </p:txBody>
      </p:sp>
      <p:pic>
        <p:nvPicPr>
          <p:cNvPr id="5" name="Graphic 4">
            <a:extLst>
              <a:ext uri="{FF2B5EF4-FFF2-40B4-BE49-F238E27FC236}">
                <a16:creationId xmlns:a16="http://schemas.microsoft.com/office/drawing/2014/main" id="{5DF71913-5A94-D279-8578-C7376D4882D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4902115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Content, Sidebar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9155113" y="1700784"/>
            <a:ext cx="2576639" cy="4473030"/>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445207" y="1645920"/>
            <a:ext cx="8377239" cy="452628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A3640F4A-3A0F-1C48-809D-5CE236A09E16}"/>
              </a:ext>
            </a:extLst>
          </p:cNvPr>
          <p:cNvSpPr>
            <a:spLocks noGrp="1"/>
          </p:cNvSpPr>
          <p:nvPr>
            <p:ph type="ftr" sz="quarter" idx="14"/>
          </p:nvPr>
        </p:nvSpPr>
        <p:spPr/>
        <p:txBody>
          <a:bodyPr/>
          <a:lstStyle>
            <a:lvl1pPr>
              <a:defRPr lang="en-US" b="0" i="0" u="none" strike="noStrike" smtClean="0">
                <a:effectLst/>
              </a:defRPr>
            </a:lvl1pPr>
          </a:lstStyle>
          <a:p>
            <a:pPr>
              <a:defRPr/>
            </a:pPr>
            <a:r>
              <a:rPr lang="en-US" dirty="0"/>
              <a:t>© 2022 Comcast.  All rights reserved.</a:t>
            </a:r>
          </a:p>
        </p:txBody>
      </p:sp>
      <p:sp>
        <p:nvSpPr>
          <p:cNvPr id="7" name="Slide Number Placeholder 6">
            <a:extLst>
              <a:ext uri="{FF2B5EF4-FFF2-40B4-BE49-F238E27FC236}">
                <a16:creationId xmlns:a16="http://schemas.microsoft.com/office/drawing/2014/main" id="{B957B8FE-FD50-544D-9035-605F5EB51055}"/>
              </a:ext>
            </a:extLst>
          </p:cNvPr>
          <p:cNvSpPr>
            <a:spLocks noGrp="1"/>
          </p:cNvSpPr>
          <p:nvPr>
            <p:ph type="sldNum" sz="quarter" idx="15"/>
          </p:nvPr>
        </p:nvSpPr>
        <p:spPr/>
        <p:txBody>
          <a:bodyPr/>
          <a:lstStyle>
            <a:lvl1pPr>
              <a:defRPr/>
            </a:lvl1pPr>
          </a:lstStyle>
          <a:p>
            <a:pPr>
              <a:defRPr/>
            </a:pPr>
            <a:fld id="{0684493C-ED96-9745-B0AB-6095C3BEC0A6}" type="slidenum">
              <a:rPr lang="en-US"/>
              <a:pPr>
                <a:defRPr/>
              </a:pPr>
              <a:t>‹#›</a:t>
            </a:fld>
            <a:endParaRPr lang="en-US"/>
          </a:p>
        </p:txBody>
      </p:sp>
    </p:spTree>
    <p:extLst>
      <p:ext uri="{BB962C8B-B14F-4D97-AF65-F5344CB8AC3E}">
        <p14:creationId xmlns:p14="http://schemas.microsoft.com/office/powerpoint/2010/main" val="1524946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wo Content, Bleed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445207" y="1645920"/>
            <a:ext cx="5486400" cy="452628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3"/>
          </p:nvPr>
        </p:nvSpPr>
        <p:spPr>
          <a:xfrm>
            <a:off x="6254496" y="1645920"/>
            <a:ext cx="5943600" cy="452628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dirty="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94E95840-3E21-C04D-8BDE-C60862001CD9}"/>
              </a:ext>
            </a:extLst>
          </p:cNvPr>
          <p:cNvSpPr>
            <a:spLocks noGrp="1"/>
          </p:cNvSpPr>
          <p:nvPr>
            <p:ph type="ftr" sz="quarter" idx="15"/>
          </p:nvPr>
        </p:nvSpPr>
        <p:spPr/>
        <p:txBody>
          <a:bodyPr/>
          <a:lstStyle>
            <a:lvl1pPr>
              <a:defRPr lang="en-US" b="0" i="0" u="none" strike="noStrike" smtClean="0">
                <a:effectLst/>
              </a:defRPr>
            </a:lvl1pPr>
          </a:lstStyle>
          <a:p>
            <a:pPr>
              <a:defRPr/>
            </a:pPr>
            <a:r>
              <a:rPr lang="en-US" dirty="0"/>
              <a:t>© 2022 Comcast.  All rights reserved.</a:t>
            </a:r>
          </a:p>
        </p:txBody>
      </p:sp>
      <p:sp>
        <p:nvSpPr>
          <p:cNvPr id="7" name="Slide Number Placeholder 6">
            <a:extLst>
              <a:ext uri="{FF2B5EF4-FFF2-40B4-BE49-F238E27FC236}">
                <a16:creationId xmlns:a16="http://schemas.microsoft.com/office/drawing/2014/main" id="{727EB17A-25FB-A04C-BC55-832CCB13A9B4}"/>
              </a:ext>
            </a:extLst>
          </p:cNvPr>
          <p:cNvSpPr>
            <a:spLocks noGrp="1"/>
          </p:cNvSpPr>
          <p:nvPr>
            <p:ph type="sldNum" sz="quarter" idx="16"/>
          </p:nvPr>
        </p:nvSpPr>
        <p:spPr/>
        <p:txBody>
          <a:bodyPr/>
          <a:lstStyle>
            <a:lvl1pPr>
              <a:defRPr/>
            </a:lvl1pPr>
          </a:lstStyle>
          <a:p>
            <a:pPr>
              <a:defRPr/>
            </a:pPr>
            <a:fld id="{76255B1B-5914-4947-AC16-75B0DBADED86}" type="slidenum">
              <a:rPr lang="en-US"/>
              <a:pPr>
                <a:defRPr/>
              </a:pPr>
              <a:t>‹#›</a:t>
            </a:fld>
            <a:endParaRPr lang="en-US"/>
          </a:p>
        </p:txBody>
      </p:sp>
    </p:spTree>
    <p:extLst>
      <p:ext uri="{BB962C8B-B14F-4D97-AF65-F5344CB8AC3E}">
        <p14:creationId xmlns:p14="http://schemas.microsoft.com/office/powerpoint/2010/main" val="19954430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2" cy="822960"/>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44500" y="1646239"/>
            <a:ext cx="11276013" cy="4525962"/>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3"/>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DB4E56D8-5A97-984B-9A68-CE2AC29C9A89}"/>
              </a:ext>
            </a:extLst>
          </p:cNvPr>
          <p:cNvSpPr>
            <a:spLocks noGrp="1"/>
          </p:cNvSpPr>
          <p:nvPr>
            <p:ph type="ftr" sz="quarter" idx="14"/>
          </p:nvPr>
        </p:nvSpPr>
        <p:spPr/>
        <p:txBody>
          <a:bodyPr/>
          <a:lstStyle>
            <a:lvl1pPr>
              <a:defRPr lang="en-US" b="0" i="0" u="none" strike="noStrike" smtClean="0">
                <a:effectLst/>
              </a:defRPr>
            </a:lvl1pPr>
          </a:lstStyle>
          <a:p>
            <a:pPr>
              <a:defRPr/>
            </a:pPr>
            <a:r>
              <a:rPr lang="en-US" dirty="0"/>
              <a:t>© 2022 Comcast.  All rights reserved.</a:t>
            </a:r>
          </a:p>
        </p:txBody>
      </p:sp>
      <p:sp>
        <p:nvSpPr>
          <p:cNvPr id="6" name="Slide Number Placeholder 5">
            <a:extLst>
              <a:ext uri="{FF2B5EF4-FFF2-40B4-BE49-F238E27FC236}">
                <a16:creationId xmlns:a16="http://schemas.microsoft.com/office/drawing/2014/main" id="{144E2E58-933D-A94C-AE24-A652A22D60F3}"/>
              </a:ext>
            </a:extLst>
          </p:cNvPr>
          <p:cNvSpPr>
            <a:spLocks noGrp="1"/>
          </p:cNvSpPr>
          <p:nvPr>
            <p:ph type="sldNum" sz="quarter" idx="15"/>
          </p:nvPr>
        </p:nvSpPr>
        <p:spPr/>
        <p:txBody>
          <a:bodyPr/>
          <a:lstStyle>
            <a:lvl1pPr>
              <a:defRPr/>
            </a:lvl1pPr>
          </a:lstStyle>
          <a:p>
            <a:pPr>
              <a:defRPr/>
            </a:pPr>
            <a:fld id="{9573B0FA-D514-D342-BBD2-A36398DC40D1}" type="slidenum">
              <a:rPr lang="en-US"/>
              <a:pPr>
                <a:defRPr/>
              </a:pPr>
              <a:t>‹#›</a:t>
            </a:fld>
            <a:endParaRPr lang="en-US"/>
          </a:p>
        </p:txBody>
      </p:sp>
    </p:spTree>
    <p:extLst>
      <p:ext uri="{BB962C8B-B14F-4D97-AF65-F5344CB8AC3E}">
        <p14:creationId xmlns:p14="http://schemas.microsoft.com/office/powerpoint/2010/main" val="162176691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30"/>
        <p:cNvGrpSpPr/>
        <p:nvPr/>
      </p:nvGrpSpPr>
      <p:grpSpPr>
        <a:xfrm>
          <a:off x="0" y="0"/>
          <a:ext cx="0" cy="0"/>
          <a:chOff x="0" y="0"/>
          <a:chExt cx="0" cy="0"/>
        </a:xfrm>
      </p:grpSpPr>
      <p:sp>
        <p:nvSpPr>
          <p:cNvPr id="31" name="Google Shape;31;p28"/>
          <p:cNvSpPr txBox="1">
            <a:spLocks noGrp="1"/>
          </p:cNvSpPr>
          <p:nvPr>
            <p:ph type="body" idx="1"/>
          </p:nvPr>
        </p:nvSpPr>
        <p:spPr>
          <a:xfrm>
            <a:off x="547159" y="1066800"/>
            <a:ext cx="11119908" cy="5215467"/>
          </a:xfrm>
          <a:prstGeom prst="rect">
            <a:avLst/>
          </a:prstGeom>
          <a:noFill/>
          <a:ln>
            <a:noFill/>
          </a:ln>
        </p:spPr>
        <p:txBody>
          <a:bodyPr spcFirstLastPara="1" wrap="square" lIns="0" tIns="45700" rIns="0" bIns="45700" anchor="t" anchorCtr="0">
            <a:noAutofit/>
          </a:bodyPr>
          <a:lstStyle>
            <a:lvl1pPr marL="304815" lvl="0" indent="-245546" algn="l">
              <a:lnSpc>
                <a:spcPct val="110000"/>
              </a:lnSpc>
              <a:spcBef>
                <a:spcPts val="1000"/>
              </a:spcBef>
              <a:spcAft>
                <a:spcPts val="0"/>
              </a:spcAft>
              <a:buSzPts val="2200"/>
              <a:buChar char="▪"/>
              <a:defRPr/>
            </a:lvl1pPr>
            <a:lvl2pPr marL="609630" lvl="1" indent="-237079" algn="l">
              <a:lnSpc>
                <a:spcPct val="110000"/>
              </a:lnSpc>
              <a:spcBef>
                <a:spcPts val="1000"/>
              </a:spcBef>
              <a:spcAft>
                <a:spcPts val="0"/>
              </a:spcAft>
              <a:buSzPts val="2000"/>
              <a:buChar char="–"/>
              <a:defRPr/>
            </a:lvl2pPr>
            <a:lvl3pPr marL="914446" lvl="2" indent="-228611" algn="l">
              <a:lnSpc>
                <a:spcPct val="110000"/>
              </a:lnSpc>
              <a:spcBef>
                <a:spcPts val="1000"/>
              </a:spcBef>
              <a:spcAft>
                <a:spcPts val="0"/>
              </a:spcAft>
              <a:buSzPts val="1800"/>
              <a:buChar char="•"/>
              <a:defRPr/>
            </a:lvl3pPr>
            <a:lvl4pPr marL="1219261" lvl="3" indent="-220144" algn="l">
              <a:lnSpc>
                <a:spcPct val="110000"/>
              </a:lnSpc>
              <a:spcBef>
                <a:spcPts val="1000"/>
              </a:spcBef>
              <a:spcAft>
                <a:spcPts val="0"/>
              </a:spcAft>
              <a:buSzPts val="1600"/>
              <a:buChar char="&gt;"/>
              <a:defRPr/>
            </a:lvl4pPr>
            <a:lvl5pPr marL="1524076" lvl="4" indent="-211677" algn="l">
              <a:lnSpc>
                <a:spcPct val="110000"/>
              </a:lnSpc>
              <a:spcBef>
                <a:spcPts val="1000"/>
              </a:spcBef>
              <a:spcAft>
                <a:spcPts val="0"/>
              </a:spcAft>
              <a:buSzPts val="1400"/>
              <a:buChar char="o"/>
              <a:defRPr/>
            </a:lvl5pPr>
            <a:lvl6pPr marL="1828891" lvl="5" indent="-228611" algn="l">
              <a:lnSpc>
                <a:spcPct val="90000"/>
              </a:lnSpc>
              <a:spcBef>
                <a:spcPts val="500"/>
              </a:spcBef>
              <a:spcAft>
                <a:spcPts val="0"/>
              </a:spcAft>
              <a:buClr>
                <a:schemeClr val="dk1"/>
              </a:buClr>
              <a:buSzPts val="1800"/>
              <a:buChar char="•"/>
              <a:defRPr/>
            </a:lvl6pPr>
            <a:lvl7pPr marL="2133707" lvl="6" indent="-228611" algn="l">
              <a:lnSpc>
                <a:spcPct val="90000"/>
              </a:lnSpc>
              <a:spcBef>
                <a:spcPts val="500"/>
              </a:spcBef>
              <a:spcAft>
                <a:spcPts val="0"/>
              </a:spcAft>
              <a:buClr>
                <a:schemeClr val="dk1"/>
              </a:buClr>
              <a:buSzPts val="1800"/>
              <a:buChar char="•"/>
              <a:defRPr/>
            </a:lvl7pPr>
            <a:lvl8pPr marL="2438522" lvl="7" indent="-228611" algn="l">
              <a:lnSpc>
                <a:spcPct val="90000"/>
              </a:lnSpc>
              <a:spcBef>
                <a:spcPts val="500"/>
              </a:spcBef>
              <a:spcAft>
                <a:spcPts val="0"/>
              </a:spcAft>
              <a:buClr>
                <a:schemeClr val="dk1"/>
              </a:buClr>
              <a:buSzPts val="1800"/>
              <a:buChar char="•"/>
              <a:defRPr/>
            </a:lvl8pPr>
            <a:lvl9pPr marL="2743337" lvl="8" indent="-228611" algn="l">
              <a:lnSpc>
                <a:spcPct val="90000"/>
              </a:lnSpc>
              <a:spcBef>
                <a:spcPts val="500"/>
              </a:spcBef>
              <a:spcAft>
                <a:spcPts val="0"/>
              </a:spcAft>
              <a:buClr>
                <a:schemeClr val="dk1"/>
              </a:buClr>
              <a:buSzPts val="1800"/>
              <a:buChar char="•"/>
              <a:defRPr/>
            </a:lvl9pPr>
          </a:lstStyle>
          <a:p>
            <a:endParaRPr/>
          </a:p>
        </p:txBody>
      </p:sp>
      <p:sp>
        <p:nvSpPr>
          <p:cNvPr id="32" name="Google Shape;32;p28"/>
          <p:cNvSpPr txBox="1">
            <a:spLocks noGrp="1"/>
          </p:cNvSpPr>
          <p:nvPr>
            <p:ph type="title"/>
          </p:nvPr>
        </p:nvSpPr>
        <p:spPr>
          <a:xfrm>
            <a:off x="547160" y="343959"/>
            <a:ext cx="11119908" cy="604309"/>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chemeClr val="dk1"/>
              </a:buClr>
              <a:buSzPts val="5800"/>
              <a:buFont typeface="Arial"/>
              <a:buNone/>
              <a:defRPr sz="3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8"/>
          <p:cNvSpPr txBox="1">
            <a:spLocks noGrp="1"/>
          </p:cNvSpPr>
          <p:nvPr>
            <p:ph type="sldNum" idx="12"/>
          </p:nvPr>
        </p:nvSpPr>
        <p:spPr>
          <a:xfrm>
            <a:off x="10899423" y="6519334"/>
            <a:ext cx="767643" cy="222049"/>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800" b="0" i="0" u="none" strike="noStrike" cap="none">
                <a:solidFill>
                  <a:srgbClr val="7F7F7F"/>
                </a:solidFill>
                <a:latin typeface="Arial"/>
                <a:ea typeface="Arial"/>
                <a:cs typeface="Arial"/>
                <a:sym typeface="Arial"/>
              </a:defRPr>
            </a:lvl9pPr>
          </a:lstStyle>
          <a:p>
            <a:fld id="{00000000-1234-1234-1234-123412341234}" type="slidenum">
              <a:rPr lang="nl-NL" smtClean="0"/>
              <a:pPr/>
              <a:t>‹#›</a:t>
            </a:fld>
            <a:endParaRPr lang="nl-NL"/>
          </a:p>
        </p:txBody>
      </p:sp>
    </p:spTree>
    <p:extLst>
      <p:ext uri="{BB962C8B-B14F-4D97-AF65-F5344CB8AC3E}">
        <p14:creationId xmlns:p14="http://schemas.microsoft.com/office/powerpoint/2010/main" val="1566247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secHead">
  <p:cSld name="Section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p:spPr>
        <p:txBody>
          <a:bodyPr anchor="b"/>
          <a:lstStyle>
            <a:lvl1pPr>
              <a:defRPr sz="5400">
                <a:solidFill>
                  <a:schemeClr val="accent2"/>
                </a:solidFill>
              </a:defRPr>
            </a:lvl1pPr>
          </a:lstStyle>
          <a:p>
            <a:r>
              <a:rPr lang="en-US"/>
              <a:t>Click to edit Master title style</a:t>
            </a:r>
            <a:endParaRPr lang="en-US" dirty="0"/>
          </a:p>
        </p:txBody>
      </p:sp>
      <p:sp>
        <p:nvSpPr>
          <p:cNvPr id="3" name="Text Placeholder 2"/>
          <p:cNvSpPr>
            <a:spLocks noGrp="1"/>
          </p:cNvSpPr>
          <p:nvPr>
            <p:ph type="body" idx="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4E403FEF-8B77-B54B-9C4E-FB97A80E15FC}"/>
              </a:ext>
            </a:extLst>
          </p:cNvPr>
          <p:cNvSpPr>
            <a:spLocks noGrp="1"/>
          </p:cNvSpPr>
          <p:nvPr>
            <p:ph type="ftr" sz="quarter" idx="10"/>
          </p:nvPr>
        </p:nvSpPr>
        <p:spPr/>
        <p:txBody>
          <a:bodyPr/>
          <a:lstStyle>
            <a:lvl1pPr algn="l">
              <a:defRPr lang="en-US" b="0" i="0" u="none" strike="noStrike" smtClean="0">
                <a:solidFill>
                  <a:schemeClr val="bg1"/>
                </a:solidFill>
                <a:effectLst/>
              </a:defRPr>
            </a:lvl1pPr>
          </a:lstStyle>
          <a:p>
            <a:pPr>
              <a:defRPr/>
            </a:pPr>
            <a:r>
              <a:rPr lang="en-US" dirty="0"/>
              <a:t>© 2022 Comcast.  All rights reserved.</a:t>
            </a:r>
          </a:p>
        </p:txBody>
      </p:sp>
      <p:sp>
        <p:nvSpPr>
          <p:cNvPr id="6" name="Slide Number Placeholder 5">
            <a:extLst>
              <a:ext uri="{FF2B5EF4-FFF2-40B4-BE49-F238E27FC236}">
                <a16:creationId xmlns:a16="http://schemas.microsoft.com/office/drawing/2014/main" id="{6E31E784-5C3C-1C45-9D26-44EE75619627}"/>
              </a:ext>
            </a:extLst>
          </p:cNvPr>
          <p:cNvSpPr>
            <a:spLocks noGrp="1"/>
          </p:cNvSpPr>
          <p:nvPr>
            <p:ph type="sldNum" sz="quarter" idx="11"/>
          </p:nvPr>
        </p:nvSpPr>
        <p:spPr/>
        <p:txBody>
          <a:bodyPr/>
          <a:lstStyle>
            <a:lvl1pPr>
              <a:defRPr>
                <a:solidFill>
                  <a:schemeClr val="accent2"/>
                </a:solidFill>
              </a:defRPr>
            </a:lvl1pPr>
          </a:lstStyle>
          <a:p>
            <a:pPr>
              <a:defRPr/>
            </a:pPr>
            <a:fld id="{0ADB3744-F24F-6948-9DF5-2CDF7459D778}" type="slidenum">
              <a:rPr lang="en-US"/>
              <a:pPr>
                <a:defRPr/>
              </a:pPr>
              <a:t>‹#›</a:t>
            </a:fld>
            <a:endParaRPr lang="en-US"/>
          </a:p>
        </p:txBody>
      </p:sp>
      <p:pic>
        <p:nvPicPr>
          <p:cNvPr id="4" name="Graphic 3">
            <a:extLst>
              <a:ext uri="{FF2B5EF4-FFF2-40B4-BE49-F238E27FC236}">
                <a16:creationId xmlns:a16="http://schemas.microsoft.com/office/drawing/2014/main" id="{C8C6A6DE-4243-1658-136B-808A9EBB6E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10052198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1"/>
        <p:cNvGrpSpPr/>
        <p:nvPr/>
      </p:nvGrpSpPr>
      <p:grpSpPr>
        <a:xfrm>
          <a:off x="0" y="0"/>
          <a:ext cx="0" cy="0"/>
          <a:chOff x="0" y="0"/>
          <a:chExt cx="0" cy="0"/>
        </a:xfrm>
      </p:grpSpPr>
      <p:sp>
        <p:nvSpPr>
          <p:cNvPr id="442" name="Google Shape;442;p59"/>
          <p:cNvSpPr txBox="1">
            <a:spLocks noGrp="1"/>
          </p:cNvSpPr>
          <p:nvPr>
            <p:ph type="title"/>
          </p:nvPr>
        </p:nvSpPr>
        <p:spPr>
          <a:xfrm>
            <a:off x="822000" y="669967"/>
            <a:ext cx="10569600" cy="607200"/>
          </a:xfrm>
          <a:prstGeom prst="rect">
            <a:avLst/>
          </a:prstGeom>
        </p:spPr>
        <p:txBody>
          <a:bodyPr spcFirstLastPara="1" wrap="square" lIns="0" tIns="0" rIns="0" bIns="0" anchor="t" anchorCtr="0">
            <a:noAutofit/>
          </a:bodyPr>
          <a:lstStyle>
            <a:lvl1pPr marL="0" marR="0" lvl="0" indent="0" algn="l" rtl="0">
              <a:lnSpc>
                <a:spcPct val="100000"/>
              </a:lnSpc>
              <a:spcBef>
                <a:spcPts val="0"/>
              </a:spcBef>
              <a:spcAft>
                <a:spcPts val="0"/>
              </a:spcAft>
              <a:buNone/>
              <a:defRPr sz="3000">
                <a:latin typeface="Muli"/>
                <a:ea typeface="Muli"/>
                <a:cs typeface="Muli"/>
                <a:sym typeface="Muli"/>
              </a:defRPr>
            </a:lvl1pPr>
            <a:lvl2pPr lvl="1" rtl="0">
              <a:spcBef>
                <a:spcPts val="0"/>
              </a:spcBef>
              <a:spcAft>
                <a:spcPts val="0"/>
              </a:spcAft>
              <a:buClr>
                <a:schemeClr val="dk1"/>
              </a:buClr>
              <a:buSzPts val="2800"/>
              <a:buNone/>
              <a:defRPr sz="3733">
                <a:solidFill>
                  <a:schemeClr val="dk1"/>
                </a:solidFill>
              </a:defRPr>
            </a:lvl2pPr>
            <a:lvl3pPr lvl="2" rtl="0">
              <a:spcBef>
                <a:spcPts val="0"/>
              </a:spcBef>
              <a:spcAft>
                <a:spcPts val="0"/>
              </a:spcAft>
              <a:buClr>
                <a:schemeClr val="dk1"/>
              </a:buClr>
              <a:buSzPts val="2800"/>
              <a:buNone/>
              <a:defRPr sz="3733">
                <a:solidFill>
                  <a:schemeClr val="dk1"/>
                </a:solidFill>
              </a:defRPr>
            </a:lvl3pPr>
            <a:lvl4pPr lvl="3" rtl="0">
              <a:spcBef>
                <a:spcPts val="0"/>
              </a:spcBef>
              <a:spcAft>
                <a:spcPts val="0"/>
              </a:spcAft>
              <a:buClr>
                <a:schemeClr val="dk1"/>
              </a:buClr>
              <a:buSzPts val="2800"/>
              <a:buNone/>
              <a:defRPr sz="3733">
                <a:solidFill>
                  <a:schemeClr val="dk1"/>
                </a:solidFill>
              </a:defRPr>
            </a:lvl4pPr>
            <a:lvl5pPr lvl="4" rtl="0">
              <a:spcBef>
                <a:spcPts val="0"/>
              </a:spcBef>
              <a:spcAft>
                <a:spcPts val="0"/>
              </a:spcAft>
              <a:buClr>
                <a:schemeClr val="dk1"/>
              </a:buClr>
              <a:buSzPts val="2800"/>
              <a:buNone/>
              <a:defRPr sz="3733">
                <a:solidFill>
                  <a:schemeClr val="dk1"/>
                </a:solidFill>
              </a:defRPr>
            </a:lvl5pPr>
            <a:lvl6pPr lvl="5" rtl="0">
              <a:spcBef>
                <a:spcPts val="0"/>
              </a:spcBef>
              <a:spcAft>
                <a:spcPts val="0"/>
              </a:spcAft>
              <a:buClr>
                <a:schemeClr val="dk1"/>
              </a:buClr>
              <a:buSzPts val="2800"/>
              <a:buNone/>
              <a:defRPr sz="3733">
                <a:solidFill>
                  <a:schemeClr val="dk1"/>
                </a:solidFill>
              </a:defRPr>
            </a:lvl6pPr>
            <a:lvl7pPr lvl="6" rtl="0">
              <a:spcBef>
                <a:spcPts val="0"/>
              </a:spcBef>
              <a:spcAft>
                <a:spcPts val="0"/>
              </a:spcAft>
              <a:buClr>
                <a:schemeClr val="dk1"/>
              </a:buClr>
              <a:buSzPts val="2800"/>
              <a:buNone/>
              <a:defRPr sz="3733">
                <a:solidFill>
                  <a:schemeClr val="dk1"/>
                </a:solidFill>
              </a:defRPr>
            </a:lvl7pPr>
            <a:lvl8pPr lvl="7" rtl="0">
              <a:spcBef>
                <a:spcPts val="0"/>
              </a:spcBef>
              <a:spcAft>
                <a:spcPts val="0"/>
              </a:spcAft>
              <a:buClr>
                <a:schemeClr val="dk1"/>
              </a:buClr>
              <a:buSzPts val="2800"/>
              <a:buNone/>
              <a:defRPr sz="3733">
                <a:solidFill>
                  <a:schemeClr val="dk1"/>
                </a:solidFill>
              </a:defRPr>
            </a:lvl8pPr>
            <a:lvl9pPr lvl="8" rtl="0">
              <a:spcBef>
                <a:spcPts val="0"/>
              </a:spcBef>
              <a:spcAft>
                <a:spcPts val="0"/>
              </a:spcAft>
              <a:buClr>
                <a:schemeClr val="dk1"/>
              </a:buClr>
              <a:buSzPts val="2800"/>
              <a:buNone/>
              <a:defRPr sz="3733">
                <a:solidFill>
                  <a:schemeClr val="dk1"/>
                </a:solidFill>
              </a:defRPr>
            </a:lvl9pPr>
          </a:lstStyle>
          <a:p>
            <a:endParaRPr/>
          </a:p>
        </p:txBody>
      </p:sp>
      <p:sp>
        <p:nvSpPr>
          <p:cNvPr id="443" name="Google Shape;443;p59"/>
          <p:cNvSpPr txBox="1">
            <a:spLocks noGrp="1"/>
          </p:cNvSpPr>
          <p:nvPr>
            <p:ph type="body" idx="1"/>
          </p:nvPr>
        </p:nvSpPr>
        <p:spPr>
          <a:xfrm>
            <a:off x="822000" y="1578200"/>
            <a:ext cx="10569600" cy="4555200"/>
          </a:xfrm>
          <a:prstGeom prst="rect">
            <a:avLst/>
          </a:prstGeom>
        </p:spPr>
        <p:txBody>
          <a:bodyPr spcFirstLastPara="1" wrap="square" lIns="0" tIns="0" rIns="0" bIns="0" anchor="t" anchorCtr="0">
            <a:noAutofit/>
          </a:bodyPr>
          <a:lstStyle>
            <a:lvl1pPr marL="609585" lvl="0" indent="-393690" rtl="0">
              <a:spcBef>
                <a:spcPts val="0"/>
              </a:spcBef>
              <a:spcAft>
                <a:spcPts val="0"/>
              </a:spcAft>
              <a:buSzPts val="1050"/>
              <a:buChar char="●"/>
              <a:defRPr/>
            </a:lvl1pPr>
            <a:lvl2pPr marL="1219170" lvl="1" indent="-393690" rtl="0">
              <a:spcBef>
                <a:spcPts val="0"/>
              </a:spcBef>
              <a:spcAft>
                <a:spcPts val="0"/>
              </a:spcAft>
              <a:buSzPts val="1050"/>
              <a:buChar char="○"/>
              <a:defRPr/>
            </a:lvl2pPr>
            <a:lvl3pPr marL="1828754" lvl="2" indent="-393690" rtl="0">
              <a:spcBef>
                <a:spcPts val="0"/>
              </a:spcBef>
              <a:spcAft>
                <a:spcPts val="0"/>
              </a:spcAft>
              <a:buSzPts val="1050"/>
              <a:buChar char="■"/>
              <a:defRPr/>
            </a:lvl3pPr>
            <a:lvl4pPr marL="2438339" lvl="3" indent="-393690" rtl="0">
              <a:spcBef>
                <a:spcPts val="0"/>
              </a:spcBef>
              <a:spcAft>
                <a:spcPts val="0"/>
              </a:spcAft>
              <a:buSzPts val="1050"/>
              <a:buChar char="●"/>
              <a:defRPr/>
            </a:lvl4pPr>
            <a:lvl5pPr marL="3047924" lvl="4" indent="-393690" rtl="0">
              <a:spcBef>
                <a:spcPts val="0"/>
              </a:spcBef>
              <a:spcAft>
                <a:spcPts val="0"/>
              </a:spcAft>
              <a:buSzPts val="1050"/>
              <a:buChar char="○"/>
              <a:defRPr/>
            </a:lvl5pPr>
            <a:lvl6pPr marL="3657509" lvl="5" indent="-393690" rtl="0">
              <a:spcBef>
                <a:spcPts val="0"/>
              </a:spcBef>
              <a:spcAft>
                <a:spcPts val="0"/>
              </a:spcAft>
              <a:buSzPts val="1050"/>
              <a:buChar char="■"/>
              <a:defRPr/>
            </a:lvl6pPr>
            <a:lvl7pPr marL="4267093" lvl="6" indent="-393690" rtl="0">
              <a:spcBef>
                <a:spcPts val="0"/>
              </a:spcBef>
              <a:spcAft>
                <a:spcPts val="0"/>
              </a:spcAft>
              <a:buSzPts val="1050"/>
              <a:buChar char="●"/>
              <a:defRPr/>
            </a:lvl7pPr>
            <a:lvl8pPr marL="4876678" lvl="7" indent="-393690" rtl="0">
              <a:spcBef>
                <a:spcPts val="0"/>
              </a:spcBef>
              <a:spcAft>
                <a:spcPts val="0"/>
              </a:spcAft>
              <a:buSzPts val="1050"/>
              <a:buChar char="○"/>
              <a:defRPr/>
            </a:lvl8pPr>
            <a:lvl9pPr marL="5486263" lvl="8" indent="-393690" rtl="0">
              <a:spcBef>
                <a:spcPts val="0"/>
              </a:spcBef>
              <a:spcAft>
                <a:spcPts val="0"/>
              </a:spcAft>
              <a:buSzPts val="1050"/>
              <a:buChar char="■"/>
              <a:defRPr/>
            </a:lvl9pPr>
          </a:lstStyle>
          <a:p>
            <a:endParaRPr/>
          </a:p>
        </p:txBody>
      </p:sp>
      <p:sp>
        <p:nvSpPr>
          <p:cNvPr id="444" name="Google Shape;444;p59"/>
          <p:cNvSpPr/>
          <p:nvPr/>
        </p:nvSpPr>
        <p:spPr>
          <a:xfrm>
            <a:off x="821700" y="1255367"/>
            <a:ext cx="1044400" cy="396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a:solidFill>
                <a:schemeClr val="lt1"/>
              </a:solidFill>
            </a:endParaRPr>
          </a:p>
        </p:txBody>
      </p:sp>
    </p:spTree>
    <p:extLst>
      <p:ext uri="{BB962C8B-B14F-4D97-AF65-F5344CB8AC3E}">
        <p14:creationId xmlns:p14="http://schemas.microsoft.com/office/powerpoint/2010/main" val="31351216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230F0-0650-4B1C-9111-6BEC13E810C4}"/>
              </a:ext>
            </a:extLst>
          </p:cNvPr>
          <p:cNvSpPr>
            <a:spLocks noGrp="1"/>
          </p:cNvSpPr>
          <p:nvPr>
            <p:ph type="title" hasCustomPrompt="1"/>
          </p:nvPr>
        </p:nvSpPr>
        <p:spPr>
          <a:xfrm>
            <a:off x="332773" y="232894"/>
            <a:ext cx="11305312" cy="467820"/>
          </a:xfrm>
        </p:spPr>
        <p:txBody>
          <a:bodyPr>
            <a:spAutoFit/>
          </a:bodyPr>
          <a:lstStyle>
            <a:lvl1pPr>
              <a:defRPr/>
            </a:lvl1pPr>
          </a:lstStyle>
          <a:p>
            <a:r>
              <a:rPr lang="en-US"/>
              <a:t>Slide title, 32pt Light</a:t>
            </a:r>
          </a:p>
        </p:txBody>
      </p:sp>
      <p:sp>
        <p:nvSpPr>
          <p:cNvPr id="4" name="Footer Placeholder 3">
            <a:extLst>
              <a:ext uri="{FF2B5EF4-FFF2-40B4-BE49-F238E27FC236}">
                <a16:creationId xmlns:a16="http://schemas.microsoft.com/office/drawing/2014/main" id="{5FC0DD1F-D3C6-49A4-9E66-BF8FF4C985AC}"/>
              </a:ext>
            </a:extLst>
          </p:cNvPr>
          <p:cNvSpPr>
            <a:spLocks noGrp="1"/>
          </p:cNvSpPr>
          <p:nvPr>
            <p:ph type="ftr" sz="quarter" idx="11"/>
          </p:nvPr>
        </p:nvSpPr>
        <p:spPr>
          <a:xfrm>
            <a:off x="463295" y="6467087"/>
            <a:ext cx="6254745" cy="123111"/>
          </a:xfrm>
        </p:spPr>
        <p:txBody>
          <a:bodyPr wrap="square">
            <a:spAutoFit/>
          </a:bodyPr>
          <a:lstStyle/>
          <a:p>
            <a:r>
              <a:rPr lang="en-US"/>
              <a:t>Confidential Information. Authorized Comcast use only. </a:t>
            </a:r>
          </a:p>
        </p:txBody>
      </p:sp>
      <p:sp>
        <p:nvSpPr>
          <p:cNvPr id="5" name="Slide Number Placeholder 4">
            <a:extLst>
              <a:ext uri="{FF2B5EF4-FFF2-40B4-BE49-F238E27FC236}">
                <a16:creationId xmlns:a16="http://schemas.microsoft.com/office/drawing/2014/main" id="{ACB796CC-F24E-451D-87D3-C83ED721C609}"/>
              </a:ext>
            </a:extLst>
          </p:cNvPr>
          <p:cNvSpPr>
            <a:spLocks noGrp="1"/>
          </p:cNvSpPr>
          <p:nvPr>
            <p:ph type="sldNum" sz="quarter" idx="12"/>
          </p:nvPr>
        </p:nvSpPr>
        <p:spPr/>
        <p:txBody>
          <a:bodyPr/>
          <a:lstStyle/>
          <a:p>
            <a:fld id="{7A0FA368-78EE-4647-A7E7-62EB4BFCEFFA}" type="slidenum">
              <a:rPr lang="en-US" smtClean="0"/>
              <a:t>‹#›</a:t>
            </a:fld>
            <a:endParaRPr lang="en-US"/>
          </a:p>
        </p:txBody>
      </p:sp>
    </p:spTree>
    <p:extLst>
      <p:ext uri="{BB962C8B-B14F-4D97-AF65-F5344CB8AC3E}">
        <p14:creationId xmlns:p14="http://schemas.microsoft.com/office/powerpoint/2010/main" val="8304853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4D9867CF-3277-4E90-BDE2-B96780090070}"/>
              </a:ext>
            </a:extLst>
          </p:cNvPr>
          <p:cNvGrpSpPr>
            <a:grpSpLocks noChangeAspect="1"/>
          </p:cNvGrpSpPr>
          <p:nvPr/>
        </p:nvGrpSpPr>
        <p:grpSpPr bwMode="auto">
          <a:xfrm>
            <a:off x="10150475" y="5518150"/>
            <a:ext cx="1581150" cy="804863"/>
            <a:chOff x="1436" y="934"/>
            <a:chExt cx="4800" cy="2442"/>
          </a:xfrm>
        </p:grpSpPr>
        <p:sp>
          <p:nvSpPr>
            <p:cNvPr id="5" name="Freeform 5">
              <a:extLst>
                <a:ext uri="{FF2B5EF4-FFF2-40B4-BE49-F238E27FC236}">
                  <a16:creationId xmlns:a16="http://schemas.microsoft.com/office/drawing/2014/main" id="{4175426A-E096-4082-8C37-0C988079C102}"/>
                </a:ext>
              </a:extLst>
            </p:cNvPr>
            <p:cNvSpPr>
              <a:spLocks noEditPoints="1"/>
            </p:cNvSpPr>
            <p:nvPr/>
          </p:nvSpPr>
          <p:spPr bwMode="auto">
            <a:xfrm>
              <a:off x="1436" y="934"/>
              <a:ext cx="4794" cy="2442"/>
            </a:xfrm>
            <a:custGeom>
              <a:avLst/>
              <a:gdLst>
                <a:gd name="T0" fmla="*/ 4595 w 9986"/>
                <a:gd name="T1" fmla="*/ 73 h 5085"/>
                <a:gd name="T2" fmla="*/ 3281 w 9986"/>
                <a:gd name="T3" fmla="*/ 444 h 5085"/>
                <a:gd name="T4" fmla="*/ 3310 w 9986"/>
                <a:gd name="T5" fmla="*/ 375 h 5085"/>
                <a:gd name="T6" fmla="*/ 1561 w 9986"/>
                <a:gd name="T7" fmla="*/ 710 h 5085"/>
                <a:gd name="T8" fmla="*/ 2187 w 9986"/>
                <a:gd name="T9" fmla="*/ 26 h 5085"/>
                <a:gd name="T10" fmla="*/ 2401 w 9986"/>
                <a:gd name="T11" fmla="*/ 355 h 5085"/>
                <a:gd name="T12" fmla="*/ 605 w 9986"/>
                <a:gd name="T13" fmla="*/ 154 h 5085"/>
                <a:gd name="T14" fmla="*/ 354 w 9986"/>
                <a:gd name="T15" fmla="*/ 639 h 5085"/>
                <a:gd name="T16" fmla="*/ 4211 w 9986"/>
                <a:gd name="T17" fmla="*/ 76 h 5085"/>
                <a:gd name="T18" fmla="*/ 3866 w 9986"/>
                <a:gd name="T19" fmla="*/ 559 h 5085"/>
                <a:gd name="T20" fmla="*/ 1434 w 9986"/>
                <a:gd name="T21" fmla="*/ 355 h 5085"/>
                <a:gd name="T22" fmla="*/ 4711 w 9986"/>
                <a:gd name="T23" fmla="*/ 2120 h 5085"/>
                <a:gd name="T24" fmla="*/ 4761 w 9986"/>
                <a:gd name="T25" fmla="*/ 2039 h 5085"/>
                <a:gd name="T26" fmla="*/ 4590 w 9986"/>
                <a:gd name="T27" fmla="*/ 2052 h 5085"/>
                <a:gd name="T28" fmla="*/ 4517 w 9986"/>
                <a:gd name="T29" fmla="*/ 2296 h 5085"/>
                <a:gd name="T30" fmla="*/ 4503 w 9986"/>
                <a:gd name="T31" fmla="*/ 2136 h 5085"/>
                <a:gd name="T32" fmla="*/ 4507 w 9986"/>
                <a:gd name="T33" fmla="*/ 2243 h 5085"/>
                <a:gd name="T34" fmla="*/ 4281 w 9986"/>
                <a:gd name="T35" fmla="*/ 2177 h 5085"/>
                <a:gd name="T36" fmla="*/ 4321 w 9986"/>
                <a:gd name="T37" fmla="*/ 2322 h 5085"/>
                <a:gd name="T38" fmla="*/ 4282 w 9986"/>
                <a:gd name="T39" fmla="*/ 2145 h 5085"/>
                <a:gd name="T40" fmla="*/ 4026 w 9986"/>
                <a:gd name="T41" fmla="*/ 2076 h 5085"/>
                <a:gd name="T42" fmla="*/ 3976 w 9986"/>
                <a:gd name="T43" fmla="*/ 2343 h 5085"/>
                <a:gd name="T44" fmla="*/ 3862 w 9986"/>
                <a:gd name="T45" fmla="*/ 2082 h 5085"/>
                <a:gd name="T46" fmla="*/ 3950 w 9986"/>
                <a:gd name="T47" fmla="*/ 2330 h 5085"/>
                <a:gd name="T48" fmla="*/ 3739 w 9986"/>
                <a:gd name="T49" fmla="*/ 2061 h 5085"/>
                <a:gd name="T50" fmla="*/ 3665 w 9986"/>
                <a:gd name="T51" fmla="*/ 2039 h 5085"/>
                <a:gd name="T52" fmla="*/ 3523 w 9986"/>
                <a:gd name="T53" fmla="*/ 2076 h 5085"/>
                <a:gd name="T54" fmla="*/ 3394 w 9986"/>
                <a:gd name="T55" fmla="*/ 2321 h 5085"/>
                <a:gd name="T56" fmla="*/ 3278 w 9986"/>
                <a:gd name="T57" fmla="*/ 2290 h 5085"/>
                <a:gd name="T58" fmla="*/ 3353 w 9986"/>
                <a:gd name="T59" fmla="*/ 2359 h 5085"/>
                <a:gd name="T60" fmla="*/ 3353 w 9986"/>
                <a:gd name="T61" fmla="*/ 2130 h 5085"/>
                <a:gd name="T62" fmla="*/ 3125 w 9986"/>
                <a:gd name="T63" fmla="*/ 2046 h 5085"/>
                <a:gd name="T64" fmla="*/ 2903 w 9986"/>
                <a:gd name="T65" fmla="*/ 2307 h 5085"/>
                <a:gd name="T66" fmla="*/ 2909 w 9986"/>
                <a:gd name="T67" fmla="*/ 2230 h 5085"/>
                <a:gd name="T68" fmla="*/ 2927 w 9986"/>
                <a:gd name="T69" fmla="*/ 2193 h 5085"/>
                <a:gd name="T70" fmla="*/ 2928 w 9986"/>
                <a:gd name="T71" fmla="*/ 2351 h 5085"/>
                <a:gd name="T72" fmla="*/ 2800 w 9986"/>
                <a:gd name="T73" fmla="*/ 2265 h 5085"/>
                <a:gd name="T74" fmla="*/ 2839 w 9986"/>
                <a:gd name="T75" fmla="*/ 2175 h 5085"/>
                <a:gd name="T76" fmla="*/ 2859 w 9986"/>
                <a:gd name="T77" fmla="*/ 2295 h 5085"/>
                <a:gd name="T78" fmla="*/ 2533 w 9986"/>
                <a:gd name="T79" fmla="*/ 2157 h 5085"/>
                <a:gd name="T80" fmla="*/ 2433 w 9986"/>
                <a:gd name="T81" fmla="*/ 2303 h 5085"/>
                <a:gd name="T82" fmla="*/ 2592 w 9986"/>
                <a:gd name="T83" fmla="*/ 2345 h 5085"/>
                <a:gd name="T84" fmla="*/ 2269 w 9986"/>
                <a:gd name="T85" fmla="*/ 2235 h 5085"/>
                <a:gd name="T86" fmla="*/ 2158 w 9986"/>
                <a:gd name="T87" fmla="*/ 2057 h 5085"/>
                <a:gd name="T88" fmla="*/ 1803 w 9986"/>
                <a:gd name="T89" fmla="*/ 2167 h 5085"/>
                <a:gd name="T90" fmla="*/ 1934 w 9986"/>
                <a:gd name="T91" fmla="*/ 2415 h 5085"/>
                <a:gd name="T92" fmla="*/ 1931 w 9986"/>
                <a:gd name="T93" fmla="*/ 2305 h 5085"/>
                <a:gd name="T94" fmla="*/ 1895 w 9986"/>
                <a:gd name="T95" fmla="*/ 2141 h 5085"/>
                <a:gd name="T96" fmla="*/ 1635 w 9986"/>
                <a:gd name="T97" fmla="*/ 2176 h 5085"/>
                <a:gd name="T98" fmla="*/ 1539 w 9986"/>
                <a:gd name="T99" fmla="*/ 2141 h 5085"/>
                <a:gd name="T100" fmla="*/ 1365 w 9986"/>
                <a:gd name="T101" fmla="*/ 2061 h 5085"/>
                <a:gd name="T102" fmla="*/ 1322 w 9986"/>
                <a:gd name="T103" fmla="*/ 2130 h 5085"/>
                <a:gd name="T104" fmla="*/ 1237 w 9986"/>
                <a:gd name="T105" fmla="*/ 2176 h 5085"/>
                <a:gd name="T106" fmla="*/ 961 w 9986"/>
                <a:gd name="T107" fmla="*/ 2254 h 5085"/>
                <a:gd name="T108" fmla="*/ 945 w 9986"/>
                <a:gd name="T109" fmla="*/ 2303 h 5085"/>
                <a:gd name="T110" fmla="*/ 918 w 9986"/>
                <a:gd name="T111" fmla="*/ 2132 h 5085"/>
                <a:gd name="T112" fmla="*/ 720 w 9986"/>
                <a:gd name="T113" fmla="*/ 2132 h 5085"/>
                <a:gd name="T114" fmla="*/ 463 w 9986"/>
                <a:gd name="T115" fmla="*/ 2167 h 5085"/>
                <a:gd name="T116" fmla="*/ 361 w 9986"/>
                <a:gd name="T117" fmla="*/ 2345 h 5085"/>
                <a:gd name="T118" fmla="*/ 520 w 9986"/>
                <a:gd name="T119" fmla="*/ 2303 h 5085"/>
                <a:gd name="T120" fmla="*/ 76 w 9986"/>
                <a:gd name="T121" fmla="*/ 2235 h 5085"/>
                <a:gd name="T122" fmla="*/ 45 w 9986"/>
                <a:gd name="T123" fmla="*/ 2357 h 50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Freeform 6">
              <a:extLst>
                <a:ext uri="{FF2B5EF4-FFF2-40B4-BE49-F238E27FC236}">
                  <a16:creationId xmlns:a16="http://schemas.microsoft.com/office/drawing/2014/main" id="{3F97653B-A38B-4DB8-A0AF-77471ED9D901}"/>
                </a:ext>
              </a:extLst>
            </p:cNvPr>
            <p:cNvSpPr>
              <a:spLocks noEditPoints="1"/>
            </p:cNvSpPr>
            <p:nvPr/>
          </p:nvSpPr>
          <p:spPr bwMode="auto">
            <a:xfrm>
              <a:off x="1481" y="1882"/>
              <a:ext cx="4755" cy="713"/>
            </a:xfrm>
            <a:custGeom>
              <a:avLst/>
              <a:gdLst>
                <a:gd name="T0" fmla="*/ 4514 w 9905"/>
                <a:gd name="T1" fmla="*/ 713 h 1485"/>
                <a:gd name="T2" fmla="*/ 4613 w 9905"/>
                <a:gd name="T3" fmla="*/ 323 h 1485"/>
                <a:gd name="T4" fmla="*/ 4433 w 9905"/>
                <a:gd name="T5" fmla="*/ 186 h 1485"/>
                <a:gd name="T6" fmla="*/ 4630 w 9905"/>
                <a:gd name="T7" fmla="*/ 131 h 1485"/>
                <a:gd name="T8" fmla="*/ 4730 w 9905"/>
                <a:gd name="T9" fmla="*/ 90 h 1485"/>
                <a:gd name="T10" fmla="*/ 4532 w 9905"/>
                <a:gd name="T11" fmla="*/ 0 h 1485"/>
                <a:gd name="T12" fmla="*/ 4463 w 9905"/>
                <a:gd name="T13" fmla="*/ 380 h 1485"/>
                <a:gd name="T14" fmla="*/ 4635 w 9905"/>
                <a:gd name="T15" fmla="*/ 517 h 1485"/>
                <a:gd name="T16" fmla="*/ 4370 w 9905"/>
                <a:gd name="T17" fmla="*/ 531 h 1485"/>
                <a:gd name="T18" fmla="*/ 3709 w 9905"/>
                <a:gd name="T19" fmla="*/ 608 h 1485"/>
                <a:gd name="T20" fmla="*/ 4178 w 9905"/>
                <a:gd name="T21" fmla="*/ 515 h 1485"/>
                <a:gd name="T22" fmla="*/ 3921 w 9905"/>
                <a:gd name="T23" fmla="*/ 268 h 1485"/>
                <a:gd name="T24" fmla="*/ 3961 w 9905"/>
                <a:gd name="T25" fmla="*/ 109 h 1485"/>
                <a:gd name="T26" fmla="*/ 4101 w 9905"/>
                <a:gd name="T27" fmla="*/ 144 h 1485"/>
                <a:gd name="T28" fmla="*/ 4113 w 9905"/>
                <a:gd name="T29" fmla="*/ 35 h 1485"/>
                <a:gd name="T30" fmla="*/ 3737 w 9905"/>
                <a:gd name="T31" fmla="*/ 190 h 1485"/>
                <a:gd name="T32" fmla="*/ 3981 w 9905"/>
                <a:gd name="T33" fmla="*/ 425 h 1485"/>
                <a:gd name="T34" fmla="*/ 3948 w 9905"/>
                <a:gd name="T35" fmla="*/ 604 h 1485"/>
                <a:gd name="T36" fmla="*/ 3709 w 9905"/>
                <a:gd name="T37" fmla="*/ 608 h 1485"/>
                <a:gd name="T38" fmla="*/ 1610 w 9905"/>
                <a:gd name="T39" fmla="*/ 713 h 1485"/>
                <a:gd name="T40" fmla="*/ 1709 w 9905"/>
                <a:gd name="T41" fmla="*/ 323 h 1485"/>
                <a:gd name="T42" fmla="*/ 1530 w 9905"/>
                <a:gd name="T43" fmla="*/ 186 h 1485"/>
                <a:gd name="T44" fmla="*/ 1727 w 9905"/>
                <a:gd name="T45" fmla="*/ 131 h 1485"/>
                <a:gd name="T46" fmla="*/ 1827 w 9905"/>
                <a:gd name="T47" fmla="*/ 90 h 1485"/>
                <a:gd name="T48" fmla="*/ 1629 w 9905"/>
                <a:gd name="T49" fmla="*/ 0 h 1485"/>
                <a:gd name="T50" fmla="*/ 1560 w 9905"/>
                <a:gd name="T51" fmla="*/ 380 h 1485"/>
                <a:gd name="T52" fmla="*/ 1733 w 9905"/>
                <a:gd name="T53" fmla="*/ 517 h 1485"/>
                <a:gd name="T54" fmla="*/ 1467 w 9905"/>
                <a:gd name="T55" fmla="*/ 531 h 1485"/>
                <a:gd name="T56" fmla="*/ 2411 w 9905"/>
                <a:gd name="T57" fmla="*/ 0 h 1485"/>
                <a:gd name="T58" fmla="*/ 2355 w 9905"/>
                <a:gd name="T59" fmla="*/ 658 h 1485"/>
                <a:gd name="T60" fmla="*/ 2468 w 9905"/>
                <a:gd name="T61" fmla="*/ 658 h 1485"/>
                <a:gd name="T62" fmla="*/ 2817 w 9905"/>
                <a:gd name="T63" fmla="*/ 670 h 1485"/>
                <a:gd name="T64" fmla="*/ 2937 w 9905"/>
                <a:gd name="T65" fmla="*/ 659 h 1485"/>
                <a:gd name="T66" fmla="*/ 2825 w 9905"/>
                <a:gd name="T67" fmla="*/ 5 h 1485"/>
                <a:gd name="T68" fmla="*/ 2473 w 9905"/>
                <a:gd name="T69" fmla="*/ 42 h 1485"/>
                <a:gd name="T70" fmla="*/ 423 w 9905"/>
                <a:gd name="T71" fmla="*/ 327 h 1485"/>
                <a:gd name="T72" fmla="*/ 313 w 9905"/>
                <a:gd name="T73" fmla="*/ 708 h 1485"/>
                <a:gd name="T74" fmla="*/ 0 w 9905"/>
                <a:gd name="T75" fmla="*/ 59 h 1485"/>
                <a:gd name="T76" fmla="*/ 299 w 9905"/>
                <a:gd name="T77" fmla="*/ 3 h 1485"/>
                <a:gd name="T78" fmla="*/ 423 w 9905"/>
                <a:gd name="T79" fmla="*/ 327 h 1485"/>
                <a:gd name="T80" fmla="*/ 284 w 9905"/>
                <a:gd name="T81" fmla="*/ 286 h 1485"/>
                <a:gd name="T82" fmla="*/ 284 w 9905"/>
                <a:gd name="T83" fmla="*/ 114 h 1485"/>
                <a:gd name="T84" fmla="*/ 114 w 9905"/>
                <a:gd name="T85" fmla="*/ 286 h 1485"/>
                <a:gd name="T86" fmla="*/ 412 w 9905"/>
                <a:gd name="T87" fmla="*/ 495 h 1485"/>
                <a:gd name="T88" fmla="*/ 114 w 9905"/>
                <a:gd name="T89" fmla="*/ 390 h 1485"/>
                <a:gd name="T90" fmla="*/ 291 w 9905"/>
                <a:gd name="T91" fmla="*/ 600 h 1485"/>
                <a:gd name="T92" fmla="*/ 3597 w 9905"/>
                <a:gd name="T93" fmla="*/ 60 h 1485"/>
                <a:gd name="T94" fmla="*/ 3189 w 9905"/>
                <a:gd name="T95" fmla="*/ 5 h 1485"/>
                <a:gd name="T96" fmla="*/ 3133 w 9905"/>
                <a:gd name="T97" fmla="*/ 655 h 1485"/>
                <a:gd name="T98" fmla="*/ 3593 w 9905"/>
                <a:gd name="T99" fmla="*/ 710 h 1485"/>
                <a:gd name="T100" fmla="*/ 3247 w 9905"/>
                <a:gd name="T101" fmla="*/ 599 h 1485"/>
                <a:gd name="T102" fmla="*/ 3508 w 9905"/>
                <a:gd name="T103" fmla="*/ 395 h 1485"/>
                <a:gd name="T104" fmla="*/ 3508 w 9905"/>
                <a:gd name="T105" fmla="*/ 284 h 1485"/>
                <a:gd name="T106" fmla="*/ 3247 w 9905"/>
                <a:gd name="T107" fmla="*/ 115 h 1485"/>
                <a:gd name="T108" fmla="*/ 785 w 9905"/>
                <a:gd name="T109" fmla="*/ 429 h 1485"/>
                <a:gd name="T110" fmla="*/ 728 w 9905"/>
                <a:gd name="T111" fmla="*/ 0 h 1485"/>
                <a:gd name="T112" fmla="*/ 672 w 9905"/>
                <a:gd name="T113" fmla="*/ 425 h 1485"/>
                <a:gd name="T114" fmla="*/ 1251 w 9905"/>
                <a:gd name="T115" fmla="*/ 425 h 1485"/>
                <a:gd name="T116" fmla="*/ 1136 w 9905"/>
                <a:gd name="T117" fmla="*/ 3 h 1485"/>
                <a:gd name="T118" fmla="*/ 961 w 9905"/>
                <a:gd name="T119" fmla="*/ 605 h 1485"/>
                <a:gd name="T120" fmla="*/ 2074 w 9905"/>
                <a:gd name="T121" fmla="*/ 0 h 1485"/>
                <a:gd name="T122" fmla="*/ 2131 w 9905"/>
                <a:gd name="T123" fmla="*/ 709 h 1485"/>
                <a:gd name="T124" fmla="*/ 2017 w 9905"/>
                <a:gd name="T125" fmla="*/ 55 h 14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3069A214-5E57-4A09-8238-BA16D14128F6}"/>
              </a:ext>
            </a:extLst>
          </p:cNvPr>
          <p:cNvSpPr>
            <a:spLocks noGrp="1"/>
          </p:cNvSpPr>
          <p:nvPr>
            <p:ph type="dt" sz="half" idx="10"/>
          </p:nvPr>
        </p:nvSpPr>
        <p:spPr>
          <a:xfrm>
            <a:off x="457200" y="6111875"/>
            <a:ext cx="4114800" cy="274638"/>
          </a:xfrm>
        </p:spPr>
        <p:txBody>
          <a:bodyPr/>
          <a:lstStyle>
            <a:lvl1pPr>
              <a:defRPr sz="1400" dirty="0">
                <a:solidFill>
                  <a:schemeClr val="accent1"/>
                </a:solidFill>
              </a:defRPr>
            </a:lvl1pPr>
          </a:lstStyle>
          <a:p>
            <a:fld id="{35BE575E-E846-4D1B-BE32-23BB5BB1A17F}" type="datetimeFigureOut">
              <a:rPr lang="en-US" smtClean="0"/>
              <a:t>1/14/2025</a:t>
            </a:fld>
            <a:endParaRPr lang="en-US"/>
          </a:p>
        </p:txBody>
      </p:sp>
    </p:spTree>
    <p:extLst>
      <p:ext uri="{BB962C8B-B14F-4D97-AF65-F5344CB8AC3E}">
        <p14:creationId xmlns:p14="http://schemas.microsoft.com/office/powerpoint/2010/main" val="39699465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6CD6F4AF-8FD8-4250-89CA-853FD4664E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52063" y="5522913"/>
            <a:ext cx="1579562"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74092" y="685800"/>
            <a:ext cx="8460345" cy="288036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3814757"/>
            <a:ext cx="8405106"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Date Placeholder 3">
            <a:extLst>
              <a:ext uri="{FF2B5EF4-FFF2-40B4-BE49-F238E27FC236}">
                <a16:creationId xmlns:a16="http://schemas.microsoft.com/office/drawing/2014/main" id="{B1F9EE08-7704-4778-A07E-A84E404F39AE}"/>
              </a:ext>
            </a:extLst>
          </p:cNvPr>
          <p:cNvSpPr>
            <a:spLocks noGrp="1"/>
          </p:cNvSpPr>
          <p:nvPr>
            <p:ph type="dt" sz="half" idx="10"/>
          </p:nvPr>
        </p:nvSpPr>
        <p:spPr>
          <a:xfrm>
            <a:off x="457200" y="6108700"/>
            <a:ext cx="4114800" cy="274638"/>
          </a:xfrm>
        </p:spPr>
        <p:txBody>
          <a:bodyPr/>
          <a:lstStyle>
            <a:lvl1pPr>
              <a:defRPr sz="1400" dirty="0">
                <a:solidFill>
                  <a:schemeClr val="accent2"/>
                </a:solidFill>
              </a:defRPr>
            </a:lvl1pPr>
          </a:lstStyle>
          <a:p>
            <a:fld id="{35BE575E-E846-4D1B-BE32-23BB5BB1A17F}" type="datetimeFigureOut">
              <a:rPr lang="en-US" smtClean="0"/>
              <a:t>1/14/2025</a:t>
            </a:fld>
            <a:endParaRPr lang="en-US"/>
          </a:p>
        </p:txBody>
      </p:sp>
    </p:spTree>
    <p:extLst>
      <p:ext uri="{BB962C8B-B14F-4D97-AF65-F5344CB8AC3E}">
        <p14:creationId xmlns:p14="http://schemas.microsoft.com/office/powerpoint/2010/main" val="3410963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A8996102-9289-4F0C-9237-C90011A494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025" y="365125"/>
            <a:ext cx="158115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74093" y="1746250"/>
            <a:ext cx="6583680" cy="2688589"/>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429332" y="4663440"/>
            <a:ext cx="6528441" cy="641350"/>
          </a:xfr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Picture Placeholder 14"/>
          <p:cNvSpPr>
            <a:spLocks noGrp="1" noChangeAspect="1"/>
          </p:cNvSpPr>
          <p:nvPr>
            <p:ph type="pic" sz="quarter" idx="15"/>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6" name="Date Placeholder 3">
            <a:extLst>
              <a:ext uri="{FF2B5EF4-FFF2-40B4-BE49-F238E27FC236}">
                <a16:creationId xmlns:a16="http://schemas.microsoft.com/office/drawing/2014/main" id="{28EA0781-9B0D-4541-8F56-2597B32658A0}"/>
              </a:ext>
            </a:extLst>
          </p:cNvPr>
          <p:cNvSpPr>
            <a:spLocks noGrp="1"/>
          </p:cNvSpPr>
          <p:nvPr>
            <p:ph type="dt" sz="half" idx="16"/>
          </p:nvPr>
        </p:nvSpPr>
        <p:spPr>
          <a:xfrm>
            <a:off x="457200" y="6107113"/>
            <a:ext cx="4114800" cy="274637"/>
          </a:xfrm>
        </p:spPr>
        <p:txBody>
          <a:bodyPr/>
          <a:lstStyle>
            <a:lvl1pPr>
              <a:defRPr sz="1400" dirty="0">
                <a:solidFill>
                  <a:schemeClr val="accent2"/>
                </a:solidFill>
              </a:defRPr>
            </a:lvl1pPr>
          </a:lstStyle>
          <a:p>
            <a:fld id="{35BE575E-E846-4D1B-BE32-23BB5BB1A17F}" type="datetimeFigureOut">
              <a:rPr lang="en-US" smtClean="0"/>
              <a:t>1/14/2025</a:t>
            </a:fld>
            <a:endParaRPr lang="en-US"/>
          </a:p>
        </p:txBody>
      </p:sp>
    </p:spTree>
    <p:extLst>
      <p:ext uri="{BB962C8B-B14F-4D97-AF65-F5344CB8AC3E}">
        <p14:creationId xmlns:p14="http://schemas.microsoft.com/office/powerpoint/2010/main" val="5666690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0" cy="2971800"/>
          </a:xfrm>
        </p:spPr>
        <p:txBody>
          <a:bodyPr anchor="b"/>
          <a:lstStyle>
            <a:lvl1pPr>
              <a:defRPr sz="540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4">
            <a:extLst>
              <a:ext uri="{FF2B5EF4-FFF2-40B4-BE49-F238E27FC236}">
                <a16:creationId xmlns:a16="http://schemas.microsoft.com/office/drawing/2014/main" id="{3A6DDB40-B951-4F7D-96AB-9D277140C9EB}"/>
              </a:ext>
            </a:extLst>
          </p:cNvPr>
          <p:cNvSpPr>
            <a:spLocks noGrp="1"/>
          </p:cNvSpPr>
          <p:nvPr>
            <p:ph type="ftr" sz="quarter" idx="10"/>
          </p:nvPr>
        </p:nvSpPr>
        <p:spPr/>
        <p:txBody>
          <a:bodyPr/>
          <a:lstStyle>
            <a:lvl1pPr algn="l">
              <a:defRPr/>
            </a:lvl1pPr>
          </a:lstStyle>
          <a:p>
            <a:endParaRPr lang="en-US"/>
          </a:p>
        </p:txBody>
      </p:sp>
      <p:sp>
        <p:nvSpPr>
          <p:cNvPr id="5" name="Slide Number Placeholder 5">
            <a:extLst>
              <a:ext uri="{FF2B5EF4-FFF2-40B4-BE49-F238E27FC236}">
                <a16:creationId xmlns:a16="http://schemas.microsoft.com/office/drawing/2014/main" id="{E669DF7E-7F27-4B31-A5F7-9C592C099BBE}"/>
              </a:ext>
            </a:extLst>
          </p:cNvPr>
          <p:cNvSpPr>
            <a:spLocks noGrp="1"/>
          </p:cNvSpPr>
          <p:nvPr>
            <p:ph type="sldNum" sz="quarter" idx="11"/>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34805320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40CD9685-1C06-43F8-9DB5-2053E5D33A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22788" y="685800"/>
            <a:ext cx="8411651" cy="2971800"/>
          </a:xfrm>
        </p:spPr>
        <p:txBody>
          <a:bodyPr anchor="b"/>
          <a:lstStyle>
            <a:lvl1pPr>
              <a:defRPr sz="5400">
                <a:solidFill>
                  <a:schemeClr val="accent2"/>
                </a:solidFill>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4C477352-3AD4-443A-AA28-1EE8B0907901}"/>
              </a:ext>
            </a:extLst>
          </p:cNvPr>
          <p:cNvSpPr>
            <a:spLocks noGrp="1"/>
          </p:cNvSpPr>
          <p:nvPr>
            <p:ph type="ftr" sz="quarter" idx="10"/>
          </p:nvPr>
        </p:nvSpPr>
        <p:spPr/>
        <p:txBody>
          <a:bodyPr/>
          <a:lstStyle>
            <a:lvl1pPr algn="l">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1A699717-22EE-4E84-8273-4A991AEAB84E}"/>
              </a:ext>
            </a:extLst>
          </p:cNvPr>
          <p:cNvSpPr>
            <a:spLocks noGrp="1"/>
          </p:cNvSpPr>
          <p:nvPr>
            <p:ph type="sldNum" sz="quarter" idx="11"/>
          </p:nvPr>
        </p:nvSpPr>
        <p:spPr/>
        <p:txBody>
          <a:bodyPr/>
          <a:lstStyle>
            <a:lvl1pPr>
              <a:defRPr smtClean="0">
                <a:solidFill>
                  <a:schemeClr val="accent2"/>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370450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2" cy="822960"/>
          </a:xfrm>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63E392F9-BAC6-4CF3-806F-4CF37EA55F7D}"/>
              </a:ext>
            </a:extLst>
          </p:cNvPr>
          <p:cNvSpPr>
            <a:spLocks noGrp="1"/>
          </p:cNvSpPr>
          <p:nvPr>
            <p:ph type="ftr" sz="quarter" idx="14"/>
          </p:nvPr>
        </p:nvSpPr>
        <p:spPr/>
        <p:txBody>
          <a:bodyPr/>
          <a:lstStyle>
            <a:lvl1pPr>
              <a:defRPr/>
            </a:lvl1pPr>
          </a:lstStyle>
          <a:p>
            <a:endParaRPr lang="en-US"/>
          </a:p>
        </p:txBody>
      </p:sp>
      <p:sp>
        <p:nvSpPr>
          <p:cNvPr id="6" name="Slide Number Placeholder 5">
            <a:extLst>
              <a:ext uri="{FF2B5EF4-FFF2-40B4-BE49-F238E27FC236}">
                <a16:creationId xmlns:a16="http://schemas.microsoft.com/office/drawing/2014/main" id="{D713D5E9-0943-4A05-BC68-12DF035AE251}"/>
              </a:ext>
            </a:extLst>
          </p:cNvPr>
          <p:cNvSpPr>
            <a:spLocks noGrp="1"/>
          </p:cNvSpPr>
          <p:nvPr>
            <p:ph type="sldNum" sz="quarter" idx="15"/>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655212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3C1903B0-6E92-4731-A14B-0D3A33C288B3}"/>
              </a:ext>
            </a:extLst>
          </p:cNvPr>
          <p:cNvSpPr>
            <a:spLocks noGrp="1"/>
          </p:cNvSpPr>
          <p:nvPr>
            <p:ph type="ftr" sz="quarter" idx="14"/>
          </p:nvPr>
        </p:nvSpPr>
        <p:spPr/>
        <p:txBody>
          <a:bodyPr/>
          <a:lstStyle>
            <a:lvl1pPr>
              <a:defRPr/>
            </a:lvl1pPr>
          </a:lstStyle>
          <a:p>
            <a:endParaRPr lang="en-US"/>
          </a:p>
        </p:txBody>
      </p:sp>
      <p:sp>
        <p:nvSpPr>
          <p:cNvPr id="7" name="Slide Number Placeholder 6">
            <a:extLst>
              <a:ext uri="{FF2B5EF4-FFF2-40B4-BE49-F238E27FC236}">
                <a16:creationId xmlns:a16="http://schemas.microsoft.com/office/drawing/2014/main" id="{9BBD35D2-D070-4195-A0A3-7180115F5122}"/>
              </a:ext>
            </a:extLst>
          </p:cNvPr>
          <p:cNvSpPr>
            <a:spLocks noGrp="1"/>
          </p:cNvSpPr>
          <p:nvPr>
            <p:ph type="sldNum" sz="quarter" idx="15"/>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2482712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tatement 1">
    <p:bg>
      <p:bgPr>
        <a:solidFill>
          <a:schemeClr val="accent1"/>
        </a:solidFill>
        <a:effectLst/>
      </p:bgPr>
    </p:bg>
    <p:spTree>
      <p:nvGrpSpPr>
        <p:cNvPr id="1" name=""/>
        <p:cNvGrpSpPr/>
        <p:nvPr/>
      </p:nvGrpSpPr>
      <p:grpSpPr>
        <a:xfrm>
          <a:off x="0" y="0"/>
          <a:ext cx="0" cy="0"/>
          <a:chOff x="0" y="0"/>
          <a:chExt cx="0" cy="0"/>
        </a:xfrm>
      </p:grpSpPr>
      <p:pic>
        <p:nvPicPr>
          <p:cNvPr id="5" name="Picture 9">
            <a:extLst>
              <a:ext uri="{FF2B5EF4-FFF2-40B4-BE49-F238E27FC236}">
                <a16:creationId xmlns:a16="http://schemas.microsoft.com/office/drawing/2014/main" id="{6937A69A-AA6F-47F0-AF17-5E2AC00651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52AFDDDB-8E07-498A-894F-ACF025650B7A}"/>
              </a:ext>
            </a:extLst>
          </p:cNvPr>
          <p:cNvSpPr>
            <a:spLocks noGrp="1"/>
          </p:cNvSpPr>
          <p:nvPr>
            <p:ph type="ftr" sz="quarter" idx="14"/>
          </p:nvPr>
        </p:nvSpPr>
        <p:spPr/>
        <p:txBody>
          <a:bodyPr/>
          <a:lstStyle>
            <a:lvl1pPr algn="l">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4B7A1CD8-C45F-4A84-84AD-22CA13A744DC}"/>
              </a:ext>
            </a:extLst>
          </p:cNvPr>
          <p:cNvSpPr>
            <a:spLocks noGrp="1"/>
          </p:cNvSpPr>
          <p:nvPr>
            <p:ph type="sldNum" sz="quarter" idx="15"/>
          </p:nvPr>
        </p:nvSpPr>
        <p:spPr/>
        <p:txBody>
          <a:bodyPr/>
          <a:lstStyle>
            <a:lvl1pPr>
              <a:defRPr smtClean="0">
                <a:solidFill>
                  <a:schemeClr val="bg1"/>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40106352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21F6F7-3426-425D-8C28-B20CFDF48710}"/>
              </a:ext>
            </a:extLst>
          </p:cNvPr>
          <p:cNvSpPr/>
          <p:nvPr/>
        </p:nvSpPr>
        <p:spPr>
          <a:xfrm>
            <a:off x="6096000" y="-9525"/>
            <a:ext cx="6096000" cy="687705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6" name="Group 10">
            <a:extLst>
              <a:ext uri="{FF2B5EF4-FFF2-40B4-BE49-F238E27FC236}">
                <a16:creationId xmlns:a16="http://schemas.microsoft.com/office/drawing/2014/main" id="{093AE709-94E2-4CAB-9AA7-FD1B0E570B8C}"/>
              </a:ext>
            </a:extLst>
          </p:cNvPr>
          <p:cNvGrpSpPr>
            <a:grpSpLocks noChangeAspect="1"/>
          </p:cNvGrpSpPr>
          <p:nvPr/>
        </p:nvGrpSpPr>
        <p:grpSpPr bwMode="auto">
          <a:xfrm>
            <a:off x="8680450" y="6437313"/>
            <a:ext cx="2522538" cy="184150"/>
            <a:chOff x="288" y="4035"/>
            <a:chExt cx="1589" cy="116"/>
          </a:xfrm>
        </p:grpSpPr>
        <p:sp>
          <p:nvSpPr>
            <p:cNvPr id="7" name="Freeform 5">
              <a:extLst>
                <a:ext uri="{FF2B5EF4-FFF2-40B4-BE49-F238E27FC236}">
                  <a16:creationId xmlns:a16="http://schemas.microsoft.com/office/drawing/2014/main" id="{D3ECE140-55C5-4112-83AC-209E3DB092AB}"/>
                </a:ext>
              </a:extLst>
            </p:cNvPr>
            <p:cNvSpPr>
              <a:spLocks noEditPoints="1"/>
            </p:cNvSpPr>
            <p:nvPr/>
          </p:nvSpPr>
          <p:spPr bwMode="auto">
            <a:xfrm>
              <a:off x="288" y="4035"/>
              <a:ext cx="769" cy="116"/>
            </a:xfrm>
            <a:custGeom>
              <a:avLst/>
              <a:gdLst>
                <a:gd name="T0" fmla="*/ 769 w 3874"/>
                <a:gd name="T1" fmla="*/ 6 h 573"/>
                <a:gd name="T2" fmla="*/ 700 w 3874"/>
                <a:gd name="T3" fmla="*/ 1 h 573"/>
                <a:gd name="T4" fmla="*/ 700 w 3874"/>
                <a:gd name="T5" fmla="*/ 12 h 573"/>
                <a:gd name="T6" fmla="*/ 727 w 3874"/>
                <a:gd name="T7" fmla="*/ 115 h 573"/>
                <a:gd name="T8" fmla="*/ 737 w 3874"/>
                <a:gd name="T9" fmla="*/ 12 h 573"/>
                <a:gd name="T10" fmla="*/ 769 w 3874"/>
                <a:gd name="T11" fmla="*/ 6 h 573"/>
                <a:gd name="T12" fmla="*/ 548 w 3874"/>
                <a:gd name="T13" fmla="*/ 0 h 573"/>
                <a:gd name="T14" fmla="*/ 501 w 3874"/>
                <a:gd name="T15" fmla="*/ 109 h 573"/>
                <a:gd name="T16" fmla="*/ 506 w 3874"/>
                <a:gd name="T17" fmla="*/ 116 h 573"/>
                <a:gd name="T18" fmla="*/ 526 w 3874"/>
                <a:gd name="T19" fmla="*/ 73 h 573"/>
                <a:gd name="T20" fmla="*/ 586 w 3874"/>
                <a:gd name="T21" fmla="*/ 115 h 573"/>
                <a:gd name="T22" fmla="*/ 553 w 3874"/>
                <a:gd name="T23" fmla="*/ 3 h 573"/>
                <a:gd name="T24" fmla="*/ 531 w 3874"/>
                <a:gd name="T25" fmla="*/ 61 h 573"/>
                <a:gd name="T26" fmla="*/ 548 w 3874"/>
                <a:gd name="T27" fmla="*/ 19 h 573"/>
                <a:gd name="T28" fmla="*/ 531 w 3874"/>
                <a:gd name="T29" fmla="*/ 61 h 573"/>
                <a:gd name="T30" fmla="*/ 346 w 3874"/>
                <a:gd name="T31" fmla="*/ 0 h 573"/>
                <a:gd name="T32" fmla="*/ 307 w 3874"/>
                <a:gd name="T33" fmla="*/ 87 h 573"/>
                <a:gd name="T34" fmla="*/ 269 w 3874"/>
                <a:gd name="T35" fmla="*/ 0 h 573"/>
                <a:gd name="T36" fmla="*/ 246 w 3874"/>
                <a:gd name="T37" fmla="*/ 110 h 573"/>
                <a:gd name="T38" fmla="*/ 250 w 3874"/>
                <a:gd name="T39" fmla="*/ 116 h 573"/>
                <a:gd name="T40" fmla="*/ 271 w 3874"/>
                <a:gd name="T41" fmla="*/ 23 h 573"/>
                <a:gd name="T42" fmla="*/ 307 w 3874"/>
                <a:gd name="T43" fmla="*/ 106 h 573"/>
                <a:gd name="T44" fmla="*/ 344 w 3874"/>
                <a:gd name="T45" fmla="*/ 23 h 573"/>
                <a:gd name="T46" fmla="*/ 371 w 3874"/>
                <a:gd name="T47" fmla="*/ 115 h 573"/>
                <a:gd name="T48" fmla="*/ 346 w 3874"/>
                <a:gd name="T49" fmla="*/ 0 h 573"/>
                <a:gd name="T50" fmla="*/ 442 w 3874"/>
                <a:gd name="T51" fmla="*/ 12 h 573"/>
                <a:gd name="T52" fmla="*/ 482 w 3874"/>
                <a:gd name="T53" fmla="*/ 25 h 573"/>
                <a:gd name="T54" fmla="*/ 482 w 3874"/>
                <a:gd name="T55" fmla="*/ 17 h 573"/>
                <a:gd name="T56" fmla="*/ 442 w 3874"/>
                <a:gd name="T57" fmla="*/ 0 h 573"/>
                <a:gd name="T58" fmla="*/ 442 w 3874"/>
                <a:gd name="T59" fmla="*/ 116 h 573"/>
                <a:gd name="T60" fmla="*/ 476 w 3874"/>
                <a:gd name="T61" fmla="*/ 89 h 573"/>
                <a:gd name="T62" fmla="*/ 396 w 3874"/>
                <a:gd name="T63" fmla="*/ 58 h 573"/>
                <a:gd name="T64" fmla="*/ 57 w 3874"/>
                <a:gd name="T65" fmla="*/ 12 h 573"/>
                <a:gd name="T66" fmla="*/ 89 w 3874"/>
                <a:gd name="T67" fmla="*/ 25 h 573"/>
                <a:gd name="T68" fmla="*/ 99 w 3874"/>
                <a:gd name="T69" fmla="*/ 21 h 573"/>
                <a:gd name="T70" fmla="*/ 96 w 3874"/>
                <a:gd name="T71" fmla="*/ 16 h 573"/>
                <a:gd name="T72" fmla="*/ 0 w 3874"/>
                <a:gd name="T73" fmla="*/ 58 h 573"/>
                <a:gd name="T74" fmla="*/ 99 w 3874"/>
                <a:gd name="T75" fmla="*/ 97 h 573"/>
                <a:gd name="T76" fmla="*/ 57 w 3874"/>
                <a:gd name="T77" fmla="*/ 104 h 573"/>
                <a:gd name="T78" fmla="*/ 57 w 3874"/>
                <a:gd name="T79" fmla="*/ 12 h 573"/>
                <a:gd name="T80" fmla="*/ 663 w 3874"/>
                <a:gd name="T81" fmla="*/ 59 h 573"/>
                <a:gd name="T82" fmla="*/ 626 w 3874"/>
                <a:gd name="T83" fmla="*/ 29 h 573"/>
                <a:gd name="T84" fmla="*/ 667 w 3874"/>
                <a:gd name="T85" fmla="*/ 17 h 573"/>
                <a:gd name="T86" fmla="*/ 676 w 3874"/>
                <a:gd name="T87" fmla="*/ 12 h 573"/>
                <a:gd name="T88" fmla="*/ 648 w 3874"/>
                <a:gd name="T89" fmla="*/ 0 h 573"/>
                <a:gd name="T90" fmla="*/ 634 w 3874"/>
                <a:gd name="T91" fmla="*/ 56 h 573"/>
                <a:gd name="T92" fmla="*/ 670 w 3874"/>
                <a:gd name="T93" fmla="*/ 86 h 573"/>
                <a:gd name="T94" fmla="*/ 621 w 3874"/>
                <a:gd name="T95" fmla="*/ 92 h 573"/>
                <a:gd name="T96" fmla="*/ 612 w 3874"/>
                <a:gd name="T97" fmla="*/ 99 h 573"/>
                <a:gd name="T98" fmla="*/ 648 w 3874"/>
                <a:gd name="T99" fmla="*/ 116 h 573"/>
                <a:gd name="T100" fmla="*/ 663 w 3874"/>
                <a:gd name="T101" fmla="*/ 59 h 573"/>
                <a:gd name="T102" fmla="*/ 173 w 3874"/>
                <a:gd name="T103" fmla="*/ 0 h 573"/>
                <a:gd name="T104" fmla="*/ 173 w 3874"/>
                <a:gd name="T105" fmla="*/ 116 h 573"/>
                <a:gd name="T106" fmla="*/ 173 w 3874"/>
                <a:gd name="T107" fmla="*/ 0 h 573"/>
                <a:gd name="T108" fmla="*/ 173 w 3874"/>
                <a:gd name="T109" fmla="*/ 104 h 573"/>
                <a:gd name="T110" fmla="*/ 173 w 3874"/>
                <a:gd name="T111" fmla="*/ 11 h 573"/>
                <a:gd name="T112" fmla="*/ 173 w 3874"/>
                <a:gd name="T113" fmla="*/ 10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9" name="Freeform 6">
              <a:extLst>
                <a:ext uri="{FF2B5EF4-FFF2-40B4-BE49-F238E27FC236}">
                  <a16:creationId xmlns:a16="http://schemas.microsoft.com/office/drawing/2014/main" id="{9BD268F1-AEF5-495D-90D3-A0343175E9F2}"/>
                </a:ext>
              </a:extLst>
            </p:cNvPr>
            <p:cNvSpPr>
              <a:spLocks noEditPoints="1"/>
            </p:cNvSpPr>
            <p:nvPr/>
          </p:nvSpPr>
          <p:spPr bwMode="auto">
            <a:xfrm>
              <a:off x="1114" y="4035"/>
              <a:ext cx="763" cy="116"/>
            </a:xfrm>
            <a:custGeom>
              <a:avLst/>
              <a:gdLst>
                <a:gd name="T0" fmla="*/ 724 w 3842"/>
                <a:gd name="T1" fmla="*/ 116 h 576"/>
                <a:gd name="T2" fmla="*/ 722 w 3842"/>
                <a:gd name="T3" fmla="*/ 44 h 576"/>
                <a:gd name="T4" fmla="*/ 743 w 3842"/>
                <a:gd name="T5" fmla="*/ 21 h 576"/>
                <a:gd name="T6" fmla="*/ 752 w 3842"/>
                <a:gd name="T7" fmla="*/ 6 h 576"/>
                <a:gd name="T8" fmla="*/ 716 w 3842"/>
                <a:gd name="T9" fmla="*/ 62 h 576"/>
                <a:gd name="T10" fmla="*/ 726 w 3842"/>
                <a:gd name="T11" fmla="*/ 98 h 576"/>
                <a:gd name="T12" fmla="*/ 595 w 3842"/>
                <a:gd name="T13" fmla="*/ 99 h 576"/>
                <a:gd name="T14" fmla="*/ 670 w 3842"/>
                <a:gd name="T15" fmla="*/ 84 h 576"/>
                <a:gd name="T16" fmla="*/ 619 w 3842"/>
                <a:gd name="T17" fmla="*/ 30 h 576"/>
                <a:gd name="T18" fmla="*/ 658 w 3842"/>
                <a:gd name="T19" fmla="*/ 23 h 576"/>
                <a:gd name="T20" fmla="*/ 635 w 3842"/>
                <a:gd name="T21" fmla="*/ 0 h 576"/>
                <a:gd name="T22" fmla="*/ 639 w 3842"/>
                <a:gd name="T23" fmla="*/ 69 h 576"/>
                <a:gd name="T24" fmla="*/ 609 w 3842"/>
                <a:gd name="T25" fmla="*/ 86 h 576"/>
                <a:gd name="T26" fmla="*/ 222 w 3842"/>
                <a:gd name="T27" fmla="*/ 99 h 576"/>
                <a:gd name="T28" fmla="*/ 274 w 3842"/>
                <a:gd name="T29" fmla="*/ 53 h 576"/>
                <a:gd name="T30" fmla="*/ 262 w 3842"/>
                <a:gd name="T31" fmla="*/ 18 h 576"/>
                <a:gd name="T32" fmla="*/ 293 w 3842"/>
                <a:gd name="T33" fmla="*/ 15 h 576"/>
                <a:gd name="T34" fmla="*/ 226 w 3842"/>
                <a:gd name="T35" fmla="*/ 31 h 576"/>
                <a:gd name="T36" fmla="*/ 278 w 3842"/>
                <a:gd name="T37" fmla="*/ 84 h 576"/>
                <a:gd name="T38" fmla="*/ 222 w 3842"/>
                <a:gd name="T39" fmla="*/ 99 h 576"/>
                <a:gd name="T40" fmla="*/ 378 w 3842"/>
                <a:gd name="T41" fmla="*/ 9 h 576"/>
                <a:gd name="T42" fmla="*/ 396 w 3842"/>
                <a:gd name="T43" fmla="*/ 107 h 576"/>
                <a:gd name="T44" fmla="*/ 462 w 3842"/>
                <a:gd name="T45" fmla="*/ 116 h 576"/>
                <a:gd name="T46" fmla="*/ 453 w 3842"/>
                <a:gd name="T47" fmla="*/ 1 h 576"/>
                <a:gd name="T48" fmla="*/ 387 w 3842"/>
                <a:gd name="T49" fmla="*/ 0 h 576"/>
                <a:gd name="T50" fmla="*/ 85 w 3842"/>
                <a:gd name="T51" fmla="*/ 81 h 576"/>
                <a:gd name="T52" fmla="*/ 0 w 3842"/>
                <a:gd name="T53" fmla="*/ 9 h 576"/>
                <a:gd name="T54" fmla="*/ 79 w 3842"/>
                <a:gd name="T55" fmla="*/ 30 h 576"/>
                <a:gd name="T56" fmla="*/ 18 w 3842"/>
                <a:gd name="T57" fmla="*/ 46 h 576"/>
                <a:gd name="T58" fmla="*/ 45 w 3842"/>
                <a:gd name="T59" fmla="*/ 19 h 576"/>
                <a:gd name="T60" fmla="*/ 47 w 3842"/>
                <a:gd name="T61" fmla="*/ 97 h 576"/>
                <a:gd name="T62" fmla="*/ 47 w 3842"/>
                <a:gd name="T63" fmla="*/ 63 h 576"/>
                <a:gd name="T64" fmla="*/ 47 w 3842"/>
                <a:gd name="T65" fmla="*/ 97 h 576"/>
                <a:gd name="T66" fmla="*/ 577 w 3842"/>
                <a:gd name="T67" fmla="*/ 10 h 576"/>
                <a:gd name="T68" fmla="*/ 503 w 3842"/>
                <a:gd name="T69" fmla="*/ 10 h 576"/>
                <a:gd name="T70" fmla="*/ 577 w 3842"/>
                <a:gd name="T71" fmla="*/ 115 h 576"/>
                <a:gd name="T72" fmla="*/ 521 w 3842"/>
                <a:gd name="T73" fmla="*/ 64 h 576"/>
                <a:gd name="T74" fmla="*/ 563 w 3842"/>
                <a:gd name="T75" fmla="*/ 46 h 576"/>
                <a:gd name="T76" fmla="*/ 568 w 3842"/>
                <a:gd name="T77" fmla="*/ 19 h 576"/>
                <a:gd name="T78" fmla="*/ 126 w 3842"/>
                <a:gd name="T79" fmla="*/ 9 h 576"/>
                <a:gd name="T80" fmla="*/ 108 w 3842"/>
                <a:gd name="T81" fmla="*/ 69 h 576"/>
                <a:gd name="T82" fmla="*/ 201 w 3842"/>
                <a:gd name="T83" fmla="*/ 0 h 576"/>
                <a:gd name="T84" fmla="*/ 154 w 3842"/>
                <a:gd name="T85" fmla="*/ 98 h 576"/>
                <a:gd name="T86" fmla="*/ 333 w 3842"/>
                <a:gd name="T87" fmla="*/ 0 h 576"/>
                <a:gd name="T88" fmla="*/ 324 w 3842"/>
                <a:gd name="T89" fmla="*/ 11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3" name="Content Placeholder 2"/>
          <p:cNvSpPr>
            <a:spLocks noGrp="1"/>
          </p:cNvSpPr>
          <p:nvPr>
            <p:ph sz="half" idx="1"/>
          </p:nvPr>
        </p:nvSpPr>
        <p:spPr>
          <a:xfrm>
            <a:off x="448205" y="1645920"/>
            <a:ext cx="5486400" cy="4665980"/>
          </a:xfrm>
        </p:spPr>
        <p:txBody>
          <a:bodyPr/>
          <a:lstStyle>
            <a:lvl1pPr marL="0" indent="0">
              <a:buNone/>
              <a:defRPr sz="4000">
                <a:solidFill>
                  <a:schemeClr val="bg1"/>
                </a:solidFill>
                <a:latin typeface="+mj-lt"/>
              </a:defRPr>
            </a:lvl1pPr>
          </a:lstStyle>
          <a:p>
            <a:pPr lvl="0"/>
            <a:r>
              <a:rPr lang="en-US"/>
              <a:t>Click to edit Master text styles</a:t>
            </a:r>
          </a:p>
        </p:txBody>
      </p:sp>
      <p:sp>
        <p:nvSpPr>
          <p:cNvPr id="4" name="Content Placeholder 3"/>
          <p:cNvSpPr>
            <a:spLocks noGrp="1"/>
          </p:cNvSpPr>
          <p:nvPr>
            <p:ph sz="half" idx="2"/>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Footer Placeholder 5">
            <a:extLst>
              <a:ext uri="{FF2B5EF4-FFF2-40B4-BE49-F238E27FC236}">
                <a16:creationId xmlns:a16="http://schemas.microsoft.com/office/drawing/2014/main" id="{D2708C69-F839-4D93-857A-22C7689A12D1}"/>
              </a:ext>
            </a:extLst>
          </p:cNvPr>
          <p:cNvSpPr>
            <a:spLocks noGrp="1"/>
          </p:cNvSpPr>
          <p:nvPr>
            <p:ph type="ftr" sz="quarter" idx="14"/>
          </p:nvPr>
        </p:nvSpPr>
        <p:spPr/>
        <p:txBody>
          <a:bodyPr/>
          <a:lstStyle>
            <a:lvl1pPr>
              <a:defRPr>
                <a:solidFill>
                  <a:schemeClr val="bg1"/>
                </a:solidFill>
              </a:defRPr>
            </a:lvl1pPr>
          </a:lstStyle>
          <a:p>
            <a:endParaRPr lang="en-US"/>
          </a:p>
        </p:txBody>
      </p:sp>
      <p:sp>
        <p:nvSpPr>
          <p:cNvPr id="11" name="Slide Number Placeholder 6">
            <a:extLst>
              <a:ext uri="{FF2B5EF4-FFF2-40B4-BE49-F238E27FC236}">
                <a16:creationId xmlns:a16="http://schemas.microsoft.com/office/drawing/2014/main" id="{02ACBC68-BA5B-4EF1-BC76-E2767BB7DB0A}"/>
              </a:ext>
            </a:extLst>
          </p:cNvPr>
          <p:cNvSpPr>
            <a:spLocks noGrp="1"/>
          </p:cNvSpPr>
          <p:nvPr>
            <p:ph type="sldNum" sz="quarter" idx="15"/>
          </p:nvPr>
        </p:nvSpPr>
        <p:spPr/>
        <p:txBody>
          <a:bodyPr/>
          <a:lstStyle>
            <a:lvl1pPr>
              <a:defRPr smtClean="0">
                <a:solidFill>
                  <a:schemeClr val="tx1"/>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67375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with Image 2">
    <p:bg>
      <p:bgPr>
        <a:solidFill>
          <a:schemeClr val="accent1"/>
        </a:solidFill>
        <a:effectLst/>
      </p:bgPr>
    </p:bg>
    <p:spTree>
      <p:nvGrpSpPr>
        <p:cNvPr id="1" name=""/>
        <p:cNvGrpSpPr/>
        <p:nvPr/>
      </p:nvGrpSpPr>
      <p:grpSpPr>
        <a:xfrm>
          <a:off x="0" y="0"/>
          <a:ext cx="0" cy="0"/>
          <a:chOff x="0" y="0"/>
          <a:chExt cx="0" cy="0"/>
        </a:xfrm>
      </p:grpSpPr>
      <p:pic>
        <p:nvPicPr>
          <p:cNvPr id="6" name="Picture 5" descr="A black and white sign with white text&#10;&#10;Description automatically generated with low confidence">
            <a:extLst>
              <a:ext uri="{FF2B5EF4-FFF2-40B4-BE49-F238E27FC236}">
                <a16:creationId xmlns:a16="http://schemas.microsoft.com/office/drawing/2014/main" id="{48B394E6-005F-88A3-78B1-F0C239F5BF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332" y="467867"/>
            <a:ext cx="1513345" cy="938023"/>
          </a:xfrm>
          <a:prstGeom prst="rect">
            <a:avLst/>
          </a:prstGeom>
        </p:spPr>
      </p:pic>
      <p:sp>
        <p:nvSpPr>
          <p:cNvPr id="23" name="Freeform 22">
            <a:extLst>
              <a:ext uri="{FF2B5EF4-FFF2-40B4-BE49-F238E27FC236}">
                <a16:creationId xmlns:a16="http://schemas.microsoft.com/office/drawing/2014/main" id="{E0E59BF4-9AD4-3FCE-50AD-1B50108A4CEB}"/>
              </a:ext>
            </a:extLst>
          </p:cNvPr>
          <p:cNvSpPr/>
          <p:nvPr userDrawn="1"/>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21">
            <a:extLst>
              <a:ext uri="{FF2B5EF4-FFF2-40B4-BE49-F238E27FC236}">
                <a16:creationId xmlns:a16="http://schemas.microsoft.com/office/drawing/2014/main" id="{D057547C-9861-3930-F47B-D08A23233196}"/>
              </a:ext>
            </a:extLst>
          </p:cNvPr>
          <p:cNvSpPr/>
          <p:nvPr userDrawn="1"/>
        </p:nvSpPr>
        <p:spPr>
          <a:xfrm rot="16200000">
            <a:off x="4743541" y="1207583"/>
            <a:ext cx="6867144" cy="4433689"/>
          </a:xfrm>
          <a:custGeom>
            <a:avLst/>
            <a:gdLst>
              <a:gd name="connsiteX0" fmla="*/ 6867144 w 6867144"/>
              <a:gd name="connsiteY0" fmla="*/ 3433572 h 4433689"/>
              <a:gd name="connsiteX1" fmla="*/ 6867144 w 6867144"/>
              <a:gd name="connsiteY1" fmla="*/ 4433689 h 4433689"/>
              <a:gd name="connsiteX2" fmla="*/ 0 w 6867144"/>
              <a:gd name="connsiteY2" fmla="*/ 4433689 h 4433689"/>
              <a:gd name="connsiteX3" fmla="*/ 0 w 6867144"/>
              <a:gd name="connsiteY3" fmla="*/ 3433571 h 4433689"/>
              <a:gd name="connsiteX4" fmla="*/ 3433572 w 6867144"/>
              <a:gd name="connsiteY4" fmla="*/ 0 h 4433689"/>
              <a:gd name="connsiteX5" fmla="*/ 6867144 w 6867144"/>
              <a:gd name="connsiteY5" fmla="*/ 3433572 h 443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433689">
                <a:moveTo>
                  <a:pt x="6867144" y="3433572"/>
                </a:moveTo>
                <a:lnTo>
                  <a:pt x="6867144" y="4433689"/>
                </a:lnTo>
                <a:lnTo>
                  <a:pt x="0" y="4433689"/>
                </a:lnTo>
                <a:lnTo>
                  <a:pt x="0" y="3433571"/>
                </a:lnTo>
                <a:cubicBezTo>
                  <a:pt x="0" y="1537263"/>
                  <a:pt x="1537263" y="0"/>
                  <a:pt x="3433572" y="0"/>
                </a:cubicBezTo>
                <a:cubicBezTo>
                  <a:pt x="5329881" y="0"/>
                  <a:pt x="6867144" y="1537263"/>
                  <a:pt x="6867144" y="3433572"/>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1746250"/>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663440"/>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a:t>Drag picture to placeholder or click icon to add.</a:t>
            </a:r>
            <a:endParaRPr lang="en-US"/>
          </a:p>
        </p:txBody>
      </p:sp>
    </p:spTree>
    <p:extLst>
      <p:ext uri="{BB962C8B-B14F-4D97-AF65-F5344CB8AC3E}">
        <p14:creationId xmlns:p14="http://schemas.microsoft.com/office/powerpoint/2010/main" val="124001816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plit 1">
    <p:bg>
      <p:bgPr>
        <a:solidFill>
          <a:schemeClr val="accent1"/>
        </a:solidFill>
        <a:effectLst/>
      </p:bgPr>
    </p:bg>
    <p:spTree>
      <p:nvGrpSpPr>
        <p:cNvPr id="1" name=""/>
        <p:cNvGrpSpPr/>
        <p:nvPr/>
      </p:nvGrpSpPr>
      <p:grpSpPr>
        <a:xfrm>
          <a:off x="0" y="0"/>
          <a:ext cx="0" cy="0"/>
          <a:chOff x="0" y="0"/>
          <a:chExt cx="0" cy="0"/>
        </a:xfrm>
      </p:grpSpPr>
      <p:sp>
        <p:nvSpPr>
          <p:cNvPr id="6" name="Rectangle: Single Corner Rounded 5">
            <a:extLst>
              <a:ext uri="{FF2B5EF4-FFF2-40B4-BE49-F238E27FC236}">
                <a16:creationId xmlns:a16="http://schemas.microsoft.com/office/drawing/2014/main" id="{41592372-0B04-4737-9421-0899C8DEA003}"/>
              </a:ext>
            </a:extLst>
          </p:cNvPr>
          <p:cNvSpPr/>
          <p:nvPr/>
        </p:nvSpPr>
        <p:spPr>
          <a:xfrm flipH="1">
            <a:off x="6448425" y="2286000"/>
            <a:ext cx="5768975" cy="4579938"/>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7" name="Group 10">
            <a:extLst>
              <a:ext uri="{FF2B5EF4-FFF2-40B4-BE49-F238E27FC236}">
                <a16:creationId xmlns:a16="http://schemas.microsoft.com/office/drawing/2014/main" id="{C335AD7D-A624-4EAF-9FC3-8BDABE224EE1}"/>
              </a:ext>
            </a:extLst>
          </p:cNvPr>
          <p:cNvGrpSpPr>
            <a:grpSpLocks noChangeAspect="1"/>
          </p:cNvGrpSpPr>
          <p:nvPr/>
        </p:nvGrpSpPr>
        <p:grpSpPr bwMode="auto">
          <a:xfrm>
            <a:off x="8680450" y="6437313"/>
            <a:ext cx="2522538" cy="184150"/>
            <a:chOff x="288" y="4035"/>
            <a:chExt cx="1589" cy="116"/>
          </a:xfrm>
        </p:grpSpPr>
        <p:sp>
          <p:nvSpPr>
            <p:cNvPr id="9" name="Freeform 5">
              <a:extLst>
                <a:ext uri="{FF2B5EF4-FFF2-40B4-BE49-F238E27FC236}">
                  <a16:creationId xmlns:a16="http://schemas.microsoft.com/office/drawing/2014/main" id="{9737843B-61DD-48C7-93CA-F40F7A511B4F}"/>
                </a:ext>
              </a:extLst>
            </p:cNvPr>
            <p:cNvSpPr>
              <a:spLocks noEditPoints="1"/>
            </p:cNvSpPr>
            <p:nvPr/>
          </p:nvSpPr>
          <p:spPr bwMode="auto">
            <a:xfrm>
              <a:off x="288" y="4035"/>
              <a:ext cx="769" cy="116"/>
            </a:xfrm>
            <a:custGeom>
              <a:avLst/>
              <a:gdLst>
                <a:gd name="T0" fmla="*/ 769 w 3874"/>
                <a:gd name="T1" fmla="*/ 6 h 573"/>
                <a:gd name="T2" fmla="*/ 700 w 3874"/>
                <a:gd name="T3" fmla="*/ 1 h 573"/>
                <a:gd name="T4" fmla="*/ 700 w 3874"/>
                <a:gd name="T5" fmla="*/ 12 h 573"/>
                <a:gd name="T6" fmla="*/ 727 w 3874"/>
                <a:gd name="T7" fmla="*/ 115 h 573"/>
                <a:gd name="T8" fmla="*/ 737 w 3874"/>
                <a:gd name="T9" fmla="*/ 12 h 573"/>
                <a:gd name="T10" fmla="*/ 769 w 3874"/>
                <a:gd name="T11" fmla="*/ 6 h 573"/>
                <a:gd name="T12" fmla="*/ 548 w 3874"/>
                <a:gd name="T13" fmla="*/ 0 h 573"/>
                <a:gd name="T14" fmla="*/ 501 w 3874"/>
                <a:gd name="T15" fmla="*/ 109 h 573"/>
                <a:gd name="T16" fmla="*/ 506 w 3874"/>
                <a:gd name="T17" fmla="*/ 116 h 573"/>
                <a:gd name="T18" fmla="*/ 526 w 3874"/>
                <a:gd name="T19" fmla="*/ 73 h 573"/>
                <a:gd name="T20" fmla="*/ 586 w 3874"/>
                <a:gd name="T21" fmla="*/ 115 h 573"/>
                <a:gd name="T22" fmla="*/ 553 w 3874"/>
                <a:gd name="T23" fmla="*/ 3 h 573"/>
                <a:gd name="T24" fmla="*/ 531 w 3874"/>
                <a:gd name="T25" fmla="*/ 61 h 573"/>
                <a:gd name="T26" fmla="*/ 548 w 3874"/>
                <a:gd name="T27" fmla="*/ 19 h 573"/>
                <a:gd name="T28" fmla="*/ 531 w 3874"/>
                <a:gd name="T29" fmla="*/ 61 h 573"/>
                <a:gd name="T30" fmla="*/ 346 w 3874"/>
                <a:gd name="T31" fmla="*/ 0 h 573"/>
                <a:gd name="T32" fmla="*/ 307 w 3874"/>
                <a:gd name="T33" fmla="*/ 87 h 573"/>
                <a:gd name="T34" fmla="*/ 269 w 3874"/>
                <a:gd name="T35" fmla="*/ 0 h 573"/>
                <a:gd name="T36" fmla="*/ 246 w 3874"/>
                <a:gd name="T37" fmla="*/ 110 h 573"/>
                <a:gd name="T38" fmla="*/ 250 w 3874"/>
                <a:gd name="T39" fmla="*/ 116 h 573"/>
                <a:gd name="T40" fmla="*/ 271 w 3874"/>
                <a:gd name="T41" fmla="*/ 23 h 573"/>
                <a:gd name="T42" fmla="*/ 307 w 3874"/>
                <a:gd name="T43" fmla="*/ 106 h 573"/>
                <a:gd name="T44" fmla="*/ 344 w 3874"/>
                <a:gd name="T45" fmla="*/ 23 h 573"/>
                <a:gd name="T46" fmla="*/ 371 w 3874"/>
                <a:gd name="T47" fmla="*/ 115 h 573"/>
                <a:gd name="T48" fmla="*/ 346 w 3874"/>
                <a:gd name="T49" fmla="*/ 0 h 573"/>
                <a:gd name="T50" fmla="*/ 442 w 3874"/>
                <a:gd name="T51" fmla="*/ 12 h 573"/>
                <a:gd name="T52" fmla="*/ 482 w 3874"/>
                <a:gd name="T53" fmla="*/ 25 h 573"/>
                <a:gd name="T54" fmla="*/ 482 w 3874"/>
                <a:gd name="T55" fmla="*/ 17 h 573"/>
                <a:gd name="T56" fmla="*/ 442 w 3874"/>
                <a:gd name="T57" fmla="*/ 0 h 573"/>
                <a:gd name="T58" fmla="*/ 442 w 3874"/>
                <a:gd name="T59" fmla="*/ 116 h 573"/>
                <a:gd name="T60" fmla="*/ 476 w 3874"/>
                <a:gd name="T61" fmla="*/ 89 h 573"/>
                <a:gd name="T62" fmla="*/ 396 w 3874"/>
                <a:gd name="T63" fmla="*/ 58 h 573"/>
                <a:gd name="T64" fmla="*/ 57 w 3874"/>
                <a:gd name="T65" fmla="*/ 12 h 573"/>
                <a:gd name="T66" fmla="*/ 89 w 3874"/>
                <a:gd name="T67" fmla="*/ 25 h 573"/>
                <a:gd name="T68" fmla="*/ 99 w 3874"/>
                <a:gd name="T69" fmla="*/ 21 h 573"/>
                <a:gd name="T70" fmla="*/ 96 w 3874"/>
                <a:gd name="T71" fmla="*/ 16 h 573"/>
                <a:gd name="T72" fmla="*/ 0 w 3874"/>
                <a:gd name="T73" fmla="*/ 58 h 573"/>
                <a:gd name="T74" fmla="*/ 99 w 3874"/>
                <a:gd name="T75" fmla="*/ 97 h 573"/>
                <a:gd name="T76" fmla="*/ 57 w 3874"/>
                <a:gd name="T77" fmla="*/ 104 h 573"/>
                <a:gd name="T78" fmla="*/ 57 w 3874"/>
                <a:gd name="T79" fmla="*/ 12 h 573"/>
                <a:gd name="T80" fmla="*/ 663 w 3874"/>
                <a:gd name="T81" fmla="*/ 59 h 573"/>
                <a:gd name="T82" fmla="*/ 626 w 3874"/>
                <a:gd name="T83" fmla="*/ 29 h 573"/>
                <a:gd name="T84" fmla="*/ 667 w 3874"/>
                <a:gd name="T85" fmla="*/ 17 h 573"/>
                <a:gd name="T86" fmla="*/ 676 w 3874"/>
                <a:gd name="T87" fmla="*/ 12 h 573"/>
                <a:gd name="T88" fmla="*/ 648 w 3874"/>
                <a:gd name="T89" fmla="*/ 0 h 573"/>
                <a:gd name="T90" fmla="*/ 634 w 3874"/>
                <a:gd name="T91" fmla="*/ 56 h 573"/>
                <a:gd name="T92" fmla="*/ 670 w 3874"/>
                <a:gd name="T93" fmla="*/ 86 h 573"/>
                <a:gd name="T94" fmla="*/ 621 w 3874"/>
                <a:gd name="T95" fmla="*/ 92 h 573"/>
                <a:gd name="T96" fmla="*/ 612 w 3874"/>
                <a:gd name="T97" fmla="*/ 99 h 573"/>
                <a:gd name="T98" fmla="*/ 648 w 3874"/>
                <a:gd name="T99" fmla="*/ 116 h 573"/>
                <a:gd name="T100" fmla="*/ 663 w 3874"/>
                <a:gd name="T101" fmla="*/ 59 h 573"/>
                <a:gd name="T102" fmla="*/ 173 w 3874"/>
                <a:gd name="T103" fmla="*/ 0 h 573"/>
                <a:gd name="T104" fmla="*/ 173 w 3874"/>
                <a:gd name="T105" fmla="*/ 116 h 573"/>
                <a:gd name="T106" fmla="*/ 173 w 3874"/>
                <a:gd name="T107" fmla="*/ 0 h 573"/>
                <a:gd name="T108" fmla="*/ 173 w 3874"/>
                <a:gd name="T109" fmla="*/ 104 h 573"/>
                <a:gd name="T110" fmla="*/ 173 w 3874"/>
                <a:gd name="T111" fmla="*/ 11 h 573"/>
                <a:gd name="T112" fmla="*/ 173 w 3874"/>
                <a:gd name="T113" fmla="*/ 10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 name="Freeform 6">
              <a:extLst>
                <a:ext uri="{FF2B5EF4-FFF2-40B4-BE49-F238E27FC236}">
                  <a16:creationId xmlns:a16="http://schemas.microsoft.com/office/drawing/2014/main" id="{787E0708-A00C-421A-B9F2-955D5649148F}"/>
                </a:ext>
              </a:extLst>
            </p:cNvPr>
            <p:cNvSpPr>
              <a:spLocks noEditPoints="1"/>
            </p:cNvSpPr>
            <p:nvPr/>
          </p:nvSpPr>
          <p:spPr bwMode="auto">
            <a:xfrm>
              <a:off x="1114" y="4035"/>
              <a:ext cx="763" cy="116"/>
            </a:xfrm>
            <a:custGeom>
              <a:avLst/>
              <a:gdLst>
                <a:gd name="T0" fmla="*/ 724 w 3842"/>
                <a:gd name="T1" fmla="*/ 116 h 576"/>
                <a:gd name="T2" fmla="*/ 722 w 3842"/>
                <a:gd name="T3" fmla="*/ 44 h 576"/>
                <a:gd name="T4" fmla="*/ 743 w 3842"/>
                <a:gd name="T5" fmla="*/ 21 h 576"/>
                <a:gd name="T6" fmla="*/ 752 w 3842"/>
                <a:gd name="T7" fmla="*/ 6 h 576"/>
                <a:gd name="T8" fmla="*/ 716 w 3842"/>
                <a:gd name="T9" fmla="*/ 62 h 576"/>
                <a:gd name="T10" fmla="*/ 726 w 3842"/>
                <a:gd name="T11" fmla="*/ 98 h 576"/>
                <a:gd name="T12" fmla="*/ 595 w 3842"/>
                <a:gd name="T13" fmla="*/ 99 h 576"/>
                <a:gd name="T14" fmla="*/ 670 w 3842"/>
                <a:gd name="T15" fmla="*/ 84 h 576"/>
                <a:gd name="T16" fmla="*/ 619 w 3842"/>
                <a:gd name="T17" fmla="*/ 30 h 576"/>
                <a:gd name="T18" fmla="*/ 658 w 3842"/>
                <a:gd name="T19" fmla="*/ 23 h 576"/>
                <a:gd name="T20" fmla="*/ 635 w 3842"/>
                <a:gd name="T21" fmla="*/ 0 h 576"/>
                <a:gd name="T22" fmla="*/ 639 w 3842"/>
                <a:gd name="T23" fmla="*/ 69 h 576"/>
                <a:gd name="T24" fmla="*/ 609 w 3842"/>
                <a:gd name="T25" fmla="*/ 86 h 576"/>
                <a:gd name="T26" fmla="*/ 222 w 3842"/>
                <a:gd name="T27" fmla="*/ 99 h 576"/>
                <a:gd name="T28" fmla="*/ 274 w 3842"/>
                <a:gd name="T29" fmla="*/ 53 h 576"/>
                <a:gd name="T30" fmla="*/ 262 w 3842"/>
                <a:gd name="T31" fmla="*/ 18 h 576"/>
                <a:gd name="T32" fmla="*/ 293 w 3842"/>
                <a:gd name="T33" fmla="*/ 15 h 576"/>
                <a:gd name="T34" fmla="*/ 226 w 3842"/>
                <a:gd name="T35" fmla="*/ 31 h 576"/>
                <a:gd name="T36" fmla="*/ 278 w 3842"/>
                <a:gd name="T37" fmla="*/ 84 h 576"/>
                <a:gd name="T38" fmla="*/ 222 w 3842"/>
                <a:gd name="T39" fmla="*/ 99 h 576"/>
                <a:gd name="T40" fmla="*/ 378 w 3842"/>
                <a:gd name="T41" fmla="*/ 9 h 576"/>
                <a:gd name="T42" fmla="*/ 396 w 3842"/>
                <a:gd name="T43" fmla="*/ 107 h 576"/>
                <a:gd name="T44" fmla="*/ 462 w 3842"/>
                <a:gd name="T45" fmla="*/ 116 h 576"/>
                <a:gd name="T46" fmla="*/ 453 w 3842"/>
                <a:gd name="T47" fmla="*/ 1 h 576"/>
                <a:gd name="T48" fmla="*/ 387 w 3842"/>
                <a:gd name="T49" fmla="*/ 0 h 576"/>
                <a:gd name="T50" fmla="*/ 85 w 3842"/>
                <a:gd name="T51" fmla="*/ 81 h 576"/>
                <a:gd name="T52" fmla="*/ 0 w 3842"/>
                <a:gd name="T53" fmla="*/ 9 h 576"/>
                <a:gd name="T54" fmla="*/ 79 w 3842"/>
                <a:gd name="T55" fmla="*/ 30 h 576"/>
                <a:gd name="T56" fmla="*/ 18 w 3842"/>
                <a:gd name="T57" fmla="*/ 46 h 576"/>
                <a:gd name="T58" fmla="*/ 45 w 3842"/>
                <a:gd name="T59" fmla="*/ 19 h 576"/>
                <a:gd name="T60" fmla="*/ 47 w 3842"/>
                <a:gd name="T61" fmla="*/ 97 h 576"/>
                <a:gd name="T62" fmla="*/ 47 w 3842"/>
                <a:gd name="T63" fmla="*/ 63 h 576"/>
                <a:gd name="T64" fmla="*/ 47 w 3842"/>
                <a:gd name="T65" fmla="*/ 97 h 576"/>
                <a:gd name="T66" fmla="*/ 577 w 3842"/>
                <a:gd name="T67" fmla="*/ 10 h 576"/>
                <a:gd name="T68" fmla="*/ 503 w 3842"/>
                <a:gd name="T69" fmla="*/ 10 h 576"/>
                <a:gd name="T70" fmla="*/ 577 w 3842"/>
                <a:gd name="T71" fmla="*/ 115 h 576"/>
                <a:gd name="T72" fmla="*/ 521 w 3842"/>
                <a:gd name="T73" fmla="*/ 64 h 576"/>
                <a:gd name="T74" fmla="*/ 563 w 3842"/>
                <a:gd name="T75" fmla="*/ 46 h 576"/>
                <a:gd name="T76" fmla="*/ 568 w 3842"/>
                <a:gd name="T77" fmla="*/ 19 h 576"/>
                <a:gd name="T78" fmla="*/ 126 w 3842"/>
                <a:gd name="T79" fmla="*/ 9 h 576"/>
                <a:gd name="T80" fmla="*/ 108 w 3842"/>
                <a:gd name="T81" fmla="*/ 69 h 576"/>
                <a:gd name="T82" fmla="*/ 201 w 3842"/>
                <a:gd name="T83" fmla="*/ 0 h 576"/>
                <a:gd name="T84" fmla="*/ 154 w 3842"/>
                <a:gd name="T85" fmla="*/ 98 h 576"/>
                <a:gd name="T86" fmla="*/ 333 w 3842"/>
                <a:gd name="T87" fmla="*/ 0 h 576"/>
                <a:gd name="T88" fmla="*/ 324 w 3842"/>
                <a:gd name="T89" fmla="*/ 11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6705601" y="2560320"/>
            <a:ext cx="5029200" cy="37490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5">
            <a:extLst>
              <a:ext uri="{FF2B5EF4-FFF2-40B4-BE49-F238E27FC236}">
                <a16:creationId xmlns:a16="http://schemas.microsoft.com/office/drawing/2014/main" id="{BA8A0BB4-260F-4FDC-AA19-E3F91E5AC277}"/>
              </a:ext>
            </a:extLst>
          </p:cNvPr>
          <p:cNvSpPr>
            <a:spLocks noGrp="1"/>
          </p:cNvSpPr>
          <p:nvPr>
            <p:ph type="ftr" sz="quarter" idx="14"/>
          </p:nvPr>
        </p:nvSpPr>
        <p:spPr/>
        <p:txBody>
          <a:bodyPr/>
          <a:lstStyle>
            <a:lvl1pPr>
              <a:defRPr>
                <a:solidFill>
                  <a:schemeClr val="bg1"/>
                </a:solidFill>
              </a:defRPr>
            </a:lvl1pPr>
          </a:lstStyle>
          <a:p>
            <a:endParaRPr lang="en-US"/>
          </a:p>
        </p:txBody>
      </p:sp>
      <p:sp>
        <p:nvSpPr>
          <p:cNvPr id="12" name="Slide Number Placeholder 6">
            <a:extLst>
              <a:ext uri="{FF2B5EF4-FFF2-40B4-BE49-F238E27FC236}">
                <a16:creationId xmlns:a16="http://schemas.microsoft.com/office/drawing/2014/main" id="{2EFC5C72-630A-47D6-B587-C6CF1F70FC01}"/>
              </a:ext>
            </a:extLst>
          </p:cNvPr>
          <p:cNvSpPr>
            <a:spLocks noGrp="1"/>
          </p:cNvSpPr>
          <p:nvPr>
            <p:ph type="sldNum" sz="quarter" idx="15"/>
          </p:nvPr>
        </p:nvSpPr>
        <p:spPr/>
        <p:txBody>
          <a:bodyPr/>
          <a:lstStyle>
            <a:lvl1pPr>
              <a:defRPr smtClean="0">
                <a:solidFill>
                  <a:schemeClr val="tx1"/>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990831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plit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2AB0C7-FFA2-491D-8166-4E11A0A8AE8C}"/>
              </a:ext>
            </a:extLst>
          </p:cNvPr>
          <p:cNvSpPr/>
          <p:nvPr/>
        </p:nvSpPr>
        <p:spPr>
          <a:xfrm>
            <a:off x="7802563" y="-9525"/>
            <a:ext cx="4389437" cy="68770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10">
            <a:extLst>
              <a:ext uri="{FF2B5EF4-FFF2-40B4-BE49-F238E27FC236}">
                <a16:creationId xmlns:a16="http://schemas.microsoft.com/office/drawing/2014/main" id="{DB11A7D7-1C42-4FDB-9912-E3FE44E7CA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29489" y="685800"/>
            <a:ext cx="7132320" cy="2286000"/>
          </a:xfrm>
        </p:spPr>
        <p:txBody>
          <a:bodyPr/>
          <a:lstStyle>
            <a:lvl1pPr>
              <a:defRPr>
                <a:solidFill>
                  <a:schemeClr val="accent1"/>
                </a:solidFill>
              </a:defRPr>
            </a:lvl1pPr>
          </a:lstStyle>
          <a:p>
            <a:r>
              <a:rPr lang="en-US"/>
              <a:t>Click to edit Master title style</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Content Placeholder 3"/>
          <p:cNvSpPr>
            <a:spLocks noGrp="1"/>
          </p:cNvSpPr>
          <p:nvPr>
            <p:ph sz="half" idx="2"/>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5">
            <a:extLst>
              <a:ext uri="{FF2B5EF4-FFF2-40B4-BE49-F238E27FC236}">
                <a16:creationId xmlns:a16="http://schemas.microsoft.com/office/drawing/2014/main" id="{E8ACA9D6-8DFA-470F-8A56-60B0CACD9558}"/>
              </a:ext>
            </a:extLst>
          </p:cNvPr>
          <p:cNvSpPr>
            <a:spLocks noGrp="1"/>
          </p:cNvSpPr>
          <p:nvPr>
            <p:ph type="ftr" sz="quarter" idx="14"/>
          </p:nvPr>
        </p:nvSpPr>
        <p:spPr/>
        <p:txBody>
          <a:bodyPr/>
          <a:lstStyle>
            <a:lvl1pPr>
              <a:defRPr>
                <a:solidFill>
                  <a:schemeClr val="tx1"/>
                </a:solidFill>
              </a:defRPr>
            </a:lvl1pPr>
          </a:lstStyle>
          <a:p>
            <a:endParaRPr lang="en-US"/>
          </a:p>
        </p:txBody>
      </p:sp>
      <p:sp>
        <p:nvSpPr>
          <p:cNvPr id="9" name="Slide Number Placeholder 6">
            <a:extLst>
              <a:ext uri="{FF2B5EF4-FFF2-40B4-BE49-F238E27FC236}">
                <a16:creationId xmlns:a16="http://schemas.microsoft.com/office/drawing/2014/main" id="{3D3C4507-10C3-4475-B148-D3EF5962C8F9}"/>
              </a:ext>
            </a:extLst>
          </p:cNvPr>
          <p:cNvSpPr>
            <a:spLocks noGrp="1"/>
          </p:cNvSpPr>
          <p:nvPr>
            <p:ph type="sldNum" sz="quarter" idx="15"/>
          </p:nvPr>
        </p:nvSpPr>
        <p:spPr/>
        <p:txBody>
          <a:bodyPr/>
          <a:lstStyle>
            <a:lvl1pPr>
              <a:defRPr smtClean="0">
                <a:solidFill>
                  <a:schemeClr val="bg1"/>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35862259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Content, Sidebar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6" y="1700784"/>
            <a:ext cx="2578101" cy="461111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3355974" y="1645920"/>
            <a:ext cx="8375775"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7F38A1C8-4283-4245-BEED-FF2D3D9DD749}"/>
              </a:ext>
            </a:extLst>
          </p:cNvPr>
          <p:cNvSpPr>
            <a:spLocks noGrp="1"/>
          </p:cNvSpPr>
          <p:nvPr>
            <p:ph type="ftr" sz="quarter" idx="14"/>
          </p:nvPr>
        </p:nvSpPr>
        <p:spPr/>
        <p:txBody>
          <a:bodyPr/>
          <a:lstStyle>
            <a:lvl1pPr>
              <a:defRPr/>
            </a:lvl1pPr>
          </a:lstStyle>
          <a:p>
            <a:endParaRPr lang="en-US"/>
          </a:p>
        </p:txBody>
      </p:sp>
      <p:sp>
        <p:nvSpPr>
          <p:cNvPr id="7" name="Slide Number Placeholder 6">
            <a:extLst>
              <a:ext uri="{FF2B5EF4-FFF2-40B4-BE49-F238E27FC236}">
                <a16:creationId xmlns:a16="http://schemas.microsoft.com/office/drawing/2014/main" id="{4D478C32-E575-4000-B886-8D842E568AB9}"/>
              </a:ext>
            </a:extLst>
          </p:cNvPr>
          <p:cNvSpPr>
            <a:spLocks noGrp="1"/>
          </p:cNvSpPr>
          <p:nvPr>
            <p:ph type="sldNum" sz="quarter" idx="15"/>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57941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Content, Sidebar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9155113" y="1700784"/>
            <a:ext cx="2576639" cy="4608576"/>
          </a:xfrm>
        </p:spPr>
        <p:txBody>
          <a:bodyPr/>
          <a:lstStyle>
            <a:lvl1pPr marL="0" indent="0">
              <a:lnSpc>
                <a:spcPct val="100000"/>
              </a:lnSpc>
              <a:buNone/>
              <a:defRPr sz="1400"/>
            </a:lvl1pPr>
          </a:lstStyle>
          <a:p>
            <a:pPr lvl="0"/>
            <a:r>
              <a:rPr lang="en-US"/>
              <a:t>Click to edit Master text styles</a:t>
            </a:r>
          </a:p>
        </p:txBody>
      </p:sp>
      <p:sp>
        <p:nvSpPr>
          <p:cNvPr id="4" name="Content Placeholder 3"/>
          <p:cNvSpPr>
            <a:spLocks noGrp="1"/>
          </p:cNvSpPr>
          <p:nvPr>
            <p:ph sz="half" idx="2"/>
          </p:nvPr>
        </p:nvSpPr>
        <p:spPr>
          <a:xfrm>
            <a:off x="445207" y="1645920"/>
            <a:ext cx="8377239"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D7603C13-1A7A-45A8-9410-BDEF7C4CD623}"/>
              </a:ext>
            </a:extLst>
          </p:cNvPr>
          <p:cNvSpPr>
            <a:spLocks noGrp="1"/>
          </p:cNvSpPr>
          <p:nvPr>
            <p:ph type="ftr" sz="quarter" idx="14"/>
          </p:nvPr>
        </p:nvSpPr>
        <p:spPr/>
        <p:txBody>
          <a:bodyPr/>
          <a:lstStyle>
            <a:lvl1pPr>
              <a:defRPr/>
            </a:lvl1pPr>
          </a:lstStyle>
          <a:p>
            <a:endParaRPr lang="en-US"/>
          </a:p>
        </p:txBody>
      </p:sp>
      <p:sp>
        <p:nvSpPr>
          <p:cNvPr id="7" name="Slide Number Placeholder 6">
            <a:extLst>
              <a:ext uri="{FF2B5EF4-FFF2-40B4-BE49-F238E27FC236}">
                <a16:creationId xmlns:a16="http://schemas.microsoft.com/office/drawing/2014/main" id="{54A64977-1D9E-4C28-ABEA-F4B05505FACA}"/>
              </a:ext>
            </a:extLst>
          </p:cNvPr>
          <p:cNvSpPr>
            <a:spLocks noGrp="1"/>
          </p:cNvSpPr>
          <p:nvPr>
            <p:ph type="sldNum" sz="quarter" idx="15"/>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765676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Bleed R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6254496"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BF1D698C-BB34-4DCE-AB88-B5665F7D6A71}"/>
              </a:ext>
            </a:extLst>
          </p:cNvPr>
          <p:cNvSpPr>
            <a:spLocks noGrp="1"/>
          </p:cNvSpPr>
          <p:nvPr>
            <p:ph type="ftr" sz="quarter" idx="15"/>
          </p:nvPr>
        </p:nvSpPr>
        <p:spPr/>
        <p:txBody>
          <a:bodyPr/>
          <a:lstStyle>
            <a:lvl1pPr>
              <a:defRPr/>
            </a:lvl1pPr>
          </a:lstStyle>
          <a:p>
            <a:endParaRPr lang="en-US"/>
          </a:p>
        </p:txBody>
      </p:sp>
      <p:sp>
        <p:nvSpPr>
          <p:cNvPr id="7" name="Slide Number Placeholder 6">
            <a:extLst>
              <a:ext uri="{FF2B5EF4-FFF2-40B4-BE49-F238E27FC236}">
                <a16:creationId xmlns:a16="http://schemas.microsoft.com/office/drawing/2014/main" id="{8C188677-1F97-4F94-AFD8-D7FA1C788F8D}"/>
              </a:ext>
            </a:extLst>
          </p:cNvPr>
          <p:cNvSpPr>
            <a:spLocks noGrp="1"/>
          </p:cNvSpPr>
          <p:nvPr>
            <p:ph type="sldNum" sz="quarter" idx="16"/>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11377948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Bleed L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245350" y="1645920"/>
            <a:ext cx="5486400" cy="466344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3"/>
          </p:nvPr>
        </p:nvSpPr>
        <p:spPr>
          <a:xfrm>
            <a:off x="-9144" y="1645920"/>
            <a:ext cx="5943600" cy="4663440"/>
          </a:xfrm>
          <a:solidFill>
            <a:schemeClr val="bg1">
              <a:lumMod val="95000"/>
            </a:schemeClr>
          </a:solidFill>
        </p:spPr>
        <p:txBody>
          <a:bodyPr lIns="1920240" tIns="1188720" rIns="1828800" rtlCol="0">
            <a:noAutofit/>
          </a:bodyPr>
          <a:lstStyle>
            <a:lvl1pPr marL="0" indent="0">
              <a:buNone/>
              <a:defRPr>
                <a:solidFill>
                  <a:schemeClr val="accent1"/>
                </a:solidFill>
              </a:defRPr>
            </a:lvl1pPr>
          </a:lstStyle>
          <a:p>
            <a:pPr lvl="0"/>
            <a:r>
              <a:rPr lang="en-US" noProof="0"/>
              <a:t>Click icon to add picture</a:t>
            </a:r>
            <a:endParaRPr lang="en-GB" noProof="0"/>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6" name="Footer Placeholder 5">
            <a:extLst>
              <a:ext uri="{FF2B5EF4-FFF2-40B4-BE49-F238E27FC236}">
                <a16:creationId xmlns:a16="http://schemas.microsoft.com/office/drawing/2014/main" id="{2F4040B2-E7C3-4D6D-B682-F6048EEA8CC7}"/>
              </a:ext>
            </a:extLst>
          </p:cNvPr>
          <p:cNvSpPr>
            <a:spLocks noGrp="1"/>
          </p:cNvSpPr>
          <p:nvPr>
            <p:ph type="ftr" sz="quarter" idx="15"/>
          </p:nvPr>
        </p:nvSpPr>
        <p:spPr/>
        <p:txBody>
          <a:bodyPr/>
          <a:lstStyle>
            <a:lvl1pPr>
              <a:defRPr/>
            </a:lvl1pPr>
          </a:lstStyle>
          <a:p>
            <a:endParaRPr lang="en-US"/>
          </a:p>
        </p:txBody>
      </p:sp>
      <p:sp>
        <p:nvSpPr>
          <p:cNvPr id="7" name="Slide Number Placeholder 6">
            <a:extLst>
              <a:ext uri="{FF2B5EF4-FFF2-40B4-BE49-F238E27FC236}">
                <a16:creationId xmlns:a16="http://schemas.microsoft.com/office/drawing/2014/main" id="{BAF9C359-92A7-4072-8268-DA9E10391D23}"/>
              </a:ext>
            </a:extLst>
          </p:cNvPr>
          <p:cNvSpPr>
            <a:spLocks noGrp="1"/>
          </p:cNvSpPr>
          <p:nvPr>
            <p:ph type="sldNum" sz="quarter" idx="16"/>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25646214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3" cy="822960"/>
          </a:xfrm>
        </p:spPr>
        <p:txBody>
          <a:bodyPr/>
          <a:lstStyle>
            <a:lvl1pPr>
              <a:defRPr/>
            </a:lvl1pPr>
          </a:lstStyle>
          <a:p>
            <a:r>
              <a:rPr lang="en-US"/>
              <a:t>Click to edit Master title style</a:t>
            </a:r>
          </a:p>
        </p:txBody>
      </p:sp>
      <p:sp>
        <p:nvSpPr>
          <p:cNvPr id="3" name="Content Placeholder 2"/>
          <p:cNvSpPr>
            <a:spLocks noGrp="1"/>
          </p:cNvSpPr>
          <p:nvPr>
            <p:ph sz="half" idx="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7" name="Footer Placeholder 5">
            <a:extLst>
              <a:ext uri="{FF2B5EF4-FFF2-40B4-BE49-F238E27FC236}">
                <a16:creationId xmlns:a16="http://schemas.microsoft.com/office/drawing/2014/main" id="{F12D1F43-CDFD-49A3-B1CB-E0EE647A9D80}"/>
              </a:ext>
            </a:extLst>
          </p:cNvPr>
          <p:cNvSpPr>
            <a:spLocks noGrp="1"/>
          </p:cNvSpPr>
          <p:nvPr>
            <p:ph type="ftr" sz="quarter" idx="15"/>
          </p:nvPr>
        </p:nvSpPr>
        <p:spPr/>
        <p:txBody>
          <a:bodyPr/>
          <a:lstStyle>
            <a:lvl1pPr>
              <a:defRPr/>
            </a:lvl1pPr>
          </a:lstStyle>
          <a:p>
            <a:endParaRPr lang="en-US"/>
          </a:p>
        </p:txBody>
      </p:sp>
      <p:sp>
        <p:nvSpPr>
          <p:cNvPr id="10" name="Slide Number Placeholder 6">
            <a:extLst>
              <a:ext uri="{FF2B5EF4-FFF2-40B4-BE49-F238E27FC236}">
                <a16:creationId xmlns:a16="http://schemas.microsoft.com/office/drawing/2014/main" id="{653CC5A1-62B6-4233-9DB5-3D01BA1FD61D}"/>
              </a:ext>
            </a:extLst>
          </p:cNvPr>
          <p:cNvSpPr>
            <a:spLocks noGrp="1"/>
          </p:cNvSpPr>
          <p:nvPr>
            <p:ph type="sldNum" sz="quarter" idx="16"/>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39387305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our Content">
    <p:bg>
      <p:bgPr>
        <a:solidFill>
          <a:schemeClr val="accent1"/>
        </a:solidFill>
        <a:effectLst/>
      </p:bgPr>
    </p:bg>
    <p:spTree>
      <p:nvGrpSpPr>
        <p:cNvPr id="1" name=""/>
        <p:cNvGrpSpPr/>
        <p:nvPr/>
      </p:nvGrpSpPr>
      <p:grpSpPr>
        <a:xfrm>
          <a:off x="0" y="0"/>
          <a:ext cx="0" cy="0"/>
          <a:chOff x="0" y="0"/>
          <a:chExt cx="0" cy="0"/>
        </a:xfrm>
      </p:grpSpPr>
      <p:pic>
        <p:nvPicPr>
          <p:cNvPr id="11" name="Picture 9">
            <a:extLst>
              <a:ext uri="{FF2B5EF4-FFF2-40B4-BE49-F238E27FC236}">
                <a16:creationId xmlns:a16="http://schemas.microsoft.com/office/drawing/2014/main" id="{5AEEFC80-7853-4329-BBA7-CF1BDA4E95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275" y="6438900"/>
            <a:ext cx="2525713"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29488" y="685800"/>
            <a:ext cx="11305313" cy="82296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13"/>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4"/>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Click to edit Master text styles</a:t>
            </a:r>
          </a:p>
        </p:txBody>
      </p:sp>
      <p:sp>
        <p:nvSpPr>
          <p:cNvPr id="10" name="Content Placeholder 3"/>
          <p:cNvSpPr>
            <a:spLocks noGrp="1"/>
          </p:cNvSpPr>
          <p:nvPr>
            <p:ph sz="half" idx="15"/>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5">
            <a:extLst>
              <a:ext uri="{FF2B5EF4-FFF2-40B4-BE49-F238E27FC236}">
                <a16:creationId xmlns:a16="http://schemas.microsoft.com/office/drawing/2014/main" id="{986AE3AA-4B19-457E-BB5D-C08CFC245462}"/>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3" name="Slide Number Placeholder 6">
            <a:extLst>
              <a:ext uri="{FF2B5EF4-FFF2-40B4-BE49-F238E27FC236}">
                <a16:creationId xmlns:a16="http://schemas.microsoft.com/office/drawing/2014/main" id="{E3910CA1-E292-482D-BB63-2DDD69EBCE72}"/>
              </a:ext>
            </a:extLst>
          </p:cNvPr>
          <p:cNvSpPr>
            <a:spLocks noGrp="1"/>
          </p:cNvSpPr>
          <p:nvPr>
            <p:ph type="sldNum" sz="quarter" idx="17"/>
          </p:nvPr>
        </p:nvSpPr>
        <p:spPr/>
        <p:txBody>
          <a:bodyPr/>
          <a:lstStyle>
            <a:lvl1pPr>
              <a:defRPr smtClean="0">
                <a:solidFill>
                  <a:schemeClr val="bg1"/>
                </a:solidFill>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27246340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866601BA-3C77-4DF2-8F12-C35271E65E06}"/>
              </a:ext>
            </a:extLst>
          </p:cNvPr>
          <p:cNvSpPr>
            <a:spLocks noGrp="1"/>
          </p:cNvSpPr>
          <p:nvPr>
            <p:ph type="ftr" sz="quarter" idx="14"/>
          </p:nvPr>
        </p:nvSpPr>
        <p:spPr/>
        <p:txBody>
          <a:bodyPr/>
          <a:lstStyle>
            <a:lvl1pPr>
              <a:defRPr/>
            </a:lvl1pPr>
          </a:lstStyle>
          <a:p>
            <a:r>
              <a:rPr lang="en-US" dirty="0">
                <a:solidFill>
                  <a:srgbClr val="000000"/>
                </a:solidFill>
                <a:latin typeface="Montserrat" panose="00000500000000000000" pitchFamily="2" charset="0"/>
              </a:rPr>
              <a:t>© 2024 Comcast. All rights reserved.</a:t>
            </a:r>
            <a:endParaRPr lang="en-US" dirty="0"/>
          </a:p>
        </p:txBody>
      </p:sp>
      <p:sp>
        <p:nvSpPr>
          <p:cNvPr id="5" name="Slide Number Placeholder 4">
            <a:extLst>
              <a:ext uri="{FF2B5EF4-FFF2-40B4-BE49-F238E27FC236}">
                <a16:creationId xmlns:a16="http://schemas.microsoft.com/office/drawing/2014/main" id="{8E9072FB-6C6C-47AC-8271-572CFFBE73CD}"/>
              </a:ext>
            </a:extLst>
          </p:cNvPr>
          <p:cNvSpPr>
            <a:spLocks noGrp="1"/>
          </p:cNvSpPr>
          <p:nvPr>
            <p:ph type="sldNum" sz="quarter" idx="15"/>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1189869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EBEEF954-CC7D-4C5B-9D5C-4353ABFF1B12}"/>
              </a:ext>
            </a:extLst>
          </p:cNvPr>
          <p:cNvSpPr>
            <a:spLocks noGrp="1"/>
          </p:cNvSpPr>
          <p:nvPr>
            <p:ph type="ftr" sz="quarter" idx="10"/>
          </p:nvPr>
        </p:nvSpPr>
        <p:spPr/>
        <p:txBody>
          <a:bodyPr/>
          <a:lstStyle>
            <a:lvl1pPr>
              <a:defRPr/>
            </a:lvl1pPr>
          </a:lstStyle>
          <a:p>
            <a:endParaRPr lang="en-US"/>
          </a:p>
        </p:txBody>
      </p:sp>
      <p:sp>
        <p:nvSpPr>
          <p:cNvPr id="3" name="Slide Number Placeholder 3">
            <a:extLst>
              <a:ext uri="{FF2B5EF4-FFF2-40B4-BE49-F238E27FC236}">
                <a16:creationId xmlns:a16="http://schemas.microsoft.com/office/drawing/2014/main" id="{F58D47CF-1426-45FC-867E-B14E64693935}"/>
              </a:ext>
            </a:extLst>
          </p:cNvPr>
          <p:cNvSpPr>
            <a:spLocks noGrp="1"/>
          </p:cNvSpPr>
          <p:nvPr>
            <p:ph type="sldNum" sz="quarter" idx="11"/>
          </p:nvPr>
        </p:nvSpPr>
        <p:spPr/>
        <p:txBody>
          <a:bodyPr/>
          <a:lstStyle>
            <a:lvl1pPr>
              <a:defRPr/>
            </a:lvl1pPr>
          </a:lstStyle>
          <a:p>
            <a:fld id="{6E168AC4-095D-4AEB-92FD-DD4443EEF9E4}" type="slidenum">
              <a:rPr lang="en-US" smtClean="0"/>
              <a:t>‹#›</a:t>
            </a:fld>
            <a:endParaRPr lang="en-US"/>
          </a:p>
        </p:txBody>
      </p:sp>
    </p:spTree>
    <p:extLst>
      <p:ext uri="{BB962C8B-B14F-4D97-AF65-F5344CB8AC3E}">
        <p14:creationId xmlns:p14="http://schemas.microsoft.com/office/powerpoint/2010/main" val="2573460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3 Comcast. All rights reserved.</a:t>
            </a:r>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pic>
        <p:nvPicPr>
          <p:cNvPr id="10" name="Picture 9" descr="A blue and black text on a black background&#10;&#10;Description automatically generated with low confidence">
            <a:extLst>
              <a:ext uri="{FF2B5EF4-FFF2-40B4-BE49-F238E27FC236}">
                <a16:creationId xmlns:a16="http://schemas.microsoft.com/office/drawing/2014/main" id="{4C6599EA-258B-E1C0-FC76-41E33F1A21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1275" y="5408901"/>
            <a:ext cx="1849723" cy="1603093"/>
          </a:xfrm>
          <a:prstGeom prst="rect">
            <a:avLst/>
          </a:prstGeom>
        </p:spPr>
      </p:pic>
    </p:spTree>
    <p:extLst>
      <p:ext uri="{BB962C8B-B14F-4D97-AF65-F5344CB8AC3E}">
        <p14:creationId xmlns:p14="http://schemas.microsoft.com/office/powerpoint/2010/main" val="30812744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01E73BF1-4118-46FB-9B5F-D7425E175A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7675" y="5519738"/>
            <a:ext cx="1579563"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74091" y="1234440"/>
            <a:ext cx="6583680" cy="3200400"/>
          </a:xfrm>
        </p:spPr>
        <p:txBody>
          <a:bodyPr anchor="b">
            <a:noAutofit/>
          </a:bodyPr>
          <a:lstStyle>
            <a:lvl1pPr algn="l">
              <a:defRPr sz="6000">
                <a:solidFill>
                  <a:schemeClr val="bg1"/>
                </a:solidFill>
              </a:defRPr>
            </a:lvl1pPr>
          </a:lstStyle>
          <a:p>
            <a:r>
              <a:rPr lang="en-US"/>
              <a:t>Click to edit Master title style</a:t>
            </a:r>
            <a:endParaRPr lang="en-GB"/>
          </a:p>
        </p:txBody>
      </p:sp>
      <p:sp>
        <p:nvSpPr>
          <p:cNvPr id="10" name="Picture Placeholder 9"/>
          <p:cNvSpPr>
            <a:spLocks noGrp="1" noChangeAspect="1"/>
          </p:cNvSpPr>
          <p:nvPr>
            <p:ph type="pic" sz="quarter" idx="15"/>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lIns="1554480" tIns="2194560" rIns="1188720" rtlCol="0">
            <a:noAutofit/>
          </a:bodyPr>
          <a:lstStyle>
            <a:lvl1pPr marL="0" indent="0">
              <a:buNone/>
              <a:defRPr>
                <a:solidFill>
                  <a:schemeClr val="accent1"/>
                </a:solidFill>
              </a:defRPr>
            </a:lvl1pPr>
          </a:lstStyle>
          <a:p>
            <a:pPr lvl="0"/>
            <a:r>
              <a:rPr lang="en-US" noProof="0"/>
              <a:t>Click icon to add picture</a:t>
            </a:r>
          </a:p>
        </p:txBody>
      </p:sp>
      <p:sp>
        <p:nvSpPr>
          <p:cNvPr id="5" name="Date Placeholder 3">
            <a:extLst>
              <a:ext uri="{FF2B5EF4-FFF2-40B4-BE49-F238E27FC236}">
                <a16:creationId xmlns:a16="http://schemas.microsoft.com/office/drawing/2014/main" id="{4B143886-63B4-48CC-B356-90EBECEC6B70}"/>
              </a:ext>
            </a:extLst>
          </p:cNvPr>
          <p:cNvSpPr>
            <a:spLocks noGrp="1"/>
          </p:cNvSpPr>
          <p:nvPr>
            <p:ph type="dt" sz="half" idx="16"/>
          </p:nvPr>
        </p:nvSpPr>
        <p:spPr>
          <a:xfrm>
            <a:off x="457200" y="487363"/>
            <a:ext cx="4114800" cy="274637"/>
          </a:xfrm>
        </p:spPr>
        <p:txBody>
          <a:bodyPr/>
          <a:lstStyle>
            <a:lvl1pPr>
              <a:defRPr sz="1400" dirty="0">
                <a:solidFill>
                  <a:schemeClr val="accent2"/>
                </a:solidFill>
              </a:defRPr>
            </a:lvl1pPr>
          </a:lstStyle>
          <a:p>
            <a:fld id="{35BE575E-E846-4D1B-BE32-23BB5BB1A17F}" type="datetimeFigureOut">
              <a:rPr lang="en-US" smtClean="0"/>
              <a:t>1/14/2025</a:t>
            </a:fld>
            <a:endParaRPr lang="en-US"/>
          </a:p>
        </p:txBody>
      </p:sp>
    </p:spTree>
    <p:extLst>
      <p:ext uri="{BB962C8B-B14F-4D97-AF65-F5344CB8AC3E}">
        <p14:creationId xmlns:p14="http://schemas.microsoft.com/office/powerpoint/2010/main" val="3462587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74ADC96A-7320-42E2-A357-C5432F004910}"/>
              </a:ext>
            </a:extLst>
          </p:cNvPr>
          <p:cNvGrpSpPr>
            <a:grpSpLocks noChangeAspect="1"/>
          </p:cNvGrpSpPr>
          <p:nvPr/>
        </p:nvGrpSpPr>
        <p:grpSpPr bwMode="auto">
          <a:xfrm>
            <a:off x="457200" y="5518150"/>
            <a:ext cx="1581150" cy="804863"/>
            <a:chOff x="1436" y="934"/>
            <a:chExt cx="4800" cy="2442"/>
          </a:xfrm>
        </p:grpSpPr>
        <p:sp>
          <p:nvSpPr>
            <p:cNvPr id="4" name="Freeform 5">
              <a:extLst>
                <a:ext uri="{FF2B5EF4-FFF2-40B4-BE49-F238E27FC236}">
                  <a16:creationId xmlns:a16="http://schemas.microsoft.com/office/drawing/2014/main" id="{175780BF-BD2A-4A74-A124-7A775228E42B}"/>
                </a:ext>
              </a:extLst>
            </p:cNvPr>
            <p:cNvSpPr>
              <a:spLocks noEditPoints="1"/>
            </p:cNvSpPr>
            <p:nvPr/>
          </p:nvSpPr>
          <p:spPr bwMode="auto">
            <a:xfrm>
              <a:off x="1436" y="934"/>
              <a:ext cx="4794" cy="2442"/>
            </a:xfrm>
            <a:custGeom>
              <a:avLst/>
              <a:gdLst>
                <a:gd name="T0" fmla="*/ 4595 w 9986"/>
                <a:gd name="T1" fmla="*/ 73 h 5085"/>
                <a:gd name="T2" fmla="*/ 3281 w 9986"/>
                <a:gd name="T3" fmla="*/ 444 h 5085"/>
                <a:gd name="T4" fmla="*/ 3310 w 9986"/>
                <a:gd name="T5" fmla="*/ 375 h 5085"/>
                <a:gd name="T6" fmla="*/ 1561 w 9986"/>
                <a:gd name="T7" fmla="*/ 710 h 5085"/>
                <a:gd name="T8" fmla="*/ 2187 w 9986"/>
                <a:gd name="T9" fmla="*/ 26 h 5085"/>
                <a:gd name="T10" fmla="*/ 2401 w 9986"/>
                <a:gd name="T11" fmla="*/ 355 h 5085"/>
                <a:gd name="T12" fmla="*/ 605 w 9986"/>
                <a:gd name="T13" fmla="*/ 154 h 5085"/>
                <a:gd name="T14" fmla="*/ 354 w 9986"/>
                <a:gd name="T15" fmla="*/ 639 h 5085"/>
                <a:gd name="T16" fmla="*/ 4211 w 9986"/>
                <a:gd name="T17" fmla="*/ 76 h 5085"/>
                <a:gd name="T18" fmla="*/ 3866 w 9986"/>
                <a:gd name="T19" fmla="*/ 559 h 5085"/>
                <a:gd name="T20" fmla="*/ 1434 w 9986"/>
                <a:gd name="T21" fmla="*/ 355 h 5085"/>
                <a:gd name="T22" fmla="*/ 4711 w 9986"/>
                <a:gd name="T23" fmla="*/ 2120 h 5085"/>
                <a:gd name="T24" fmla="*/ 4761 w 9986"/>
                <a:gd name="T25" fmla="*/ 2039 h 5085"/>
                <a:gd name="T26" fmla="*/ 4590 w 9986"/>
                <a:gd name="T27" fmla="*/ 2052 h 5085"/>
                <a:gd name="T28" fmla="*/ 4517 w 9986"/>
                <a:gd name="T29" fmla="*/ 2296 h 5085"/>
                <a:gd name="T30" fmla="*/ 4503 w 9986"/>
                <a:gd name="T31" fmla="*/ 2136 h 5085"/>
                <a:gd name="T32" fmla="*/ 4507 w 9986"/>
                <a:gd name="T33" fmla="*/ 2243 h 5085"/>
                <a:gd name="T34" fmla="*/ 4281 w 9986"/>
                <a:gd name="T35" fmla="*/ 2177 h 5085"/>
                <a:gd name="T36" fmla="*/ 4321 w 9986"/>
                <a:gd name="T37" fmla="*/ 2322 h 5085"/>
                <a:gd name="T38" fmla="*/ 4282 w 9986"/>
                <a:gd name="T39" fmla="*/ 2145 h 5085"/>
                <a:gd name="T40" fmla="*/ 4026 w 9986"/>
                <a:gd name="T41" fmla="*/ 2076 h 5085"/>
                <a:gd name="T42" fmla="*/ 3976 w 9986"/>
                <a:gd name="T43" fmla="*/ 2343 h 5085"/>
                <a:gd name="T44" fmla="*/ 3862 w 9986"/>
                <a:gd name="T45" fmla="*/ 2082 h 5085"/>
                <a:gd name="T46" fmla="*/ 3950 w 9986"/>
                <a:gd name="T47" fmla="*/ 2330 h 5085"/>
                <a:gd name="T48" fmla="*/ 3739 w 9986"/>
                <a:gd name="T49" fmla="*/ 2061 h 5085"/>
                <a:gd name="T50" fmla="*/ 3665 w 9986"/>
                <a:gd name="T51" fmla="*/ 2039 h 5085"/>
                <a:gd name="T52" fmla="*/ 3523 w 9986"/>
                <a:gd name="T53" fmla="*/ 2076 h 5085"/>
                <a:gd name="T54" fmla="*/ 3394 w 9986"/>
                <a:gd name="T55" fmla="*/ 2321 h 5085"/>
                <a:gd name="T56" fmla="*/ 3278 w 9986"/>
                <a:gd name="T57" fmla="*/ 2290 h 5085"/>
                <a:gd name="T58" fmla="*/ 3353 w 9986"/>
                <a:gd name="T59" fmla="*/ 2359 h 5085"/>
                <a:gd name="T60" fmla="*/ 3353 w 9986"/>
                <a:gd name="T61" fmla="*/ 2130 h 5085"/>
                <a:gd name="T62" fmla="*/ 3125 w 9986"/>
                <a:gd name="T63" fmla="*/ 2046 h 5085"/>
                <a:gd name="T64" fmla="*/ 2903 w 9986"/>
                <a:gd name="T65" fmla="*/ 2307 h 5085"/>
                <a:gd name="T66" fmla="*/ 2909 w 9986"/>
                <a:gd name="T67" fmla="*/ 2230 h 5085"/>
                <a:gd name="T68" fmla="*/ 2927 w 9986"/>
                <a:gd name="T69" fmla="*/ 2193 h 5085"/>
                <a:gd name="T70" fmla="*/ 2928 w 9986"/>
                <a:gd name="T71" fmla="*/ 2351 h 5085"/>
                <a:gd name="T72" fmla="*/ 2800 w 9986"/>
                <a:gd name="T73" fmla="*/ 2265 h 5085"/>
                <a:gd name="T74" fmla="*/ 2839 w 9986"/>
                <a:gd name="T75" fmla="*/ 2175 h 5085"/>
                <a:gd name="T76" fmla="*/ 2859 w 9986"/>
                <a:gd name="T77" fmla="*/ 2295 h 5085"/>
                <a:gd name="T78" fmla="*/ 2533 w 9986"/>
                <a:gd name="T79" fmla="*/ 2157 h 5085"/>
                <a:gd name="T80" fmla="*/ 2433 w 9986"/>
                <a:gd name="T81" fmla="*/ 2303 h 5085"/>
                <a:gd name="T82" fmla="*/ 2592 w 9986"/>
                <a:gd name="T83" fmla="*/ 2345 h 5085"/>
                <a:gd name="T84" fmla="*/ 2269 w 9986"/>
                <a:gd name="T85" fmla="*/ 2235 h 5085"/>
                <a:gd name="T86" fmla="*/ 2158 w 9986"/>
                <a:gd name="T87" fmla="*/ 2057 h 5085"/>
                <a:gd name="T88" fmla="*/ 1803 w 9986"/>
                <a:gd name="T89" fmla="*/ 2167 h 5085"/>
                <a:gd name="T90" fmla="*/ 1934 w 9986"/>
                <a:gd name="T91" fmla="*/ 2415 h 5085"/>
                <a:gd name="T92" fmla="*/ 1931 w 9986"/>
                <a:gd name="T93" fmla="*/ 2305 h 5085"/>
                <a:gd name="T94" fmla="*/ 1895 w 9986"/>
                <a:gd name="T95" fmla="*/ 2141 h 5085"/>
                <a:gd name="T96" fmla="*/ 1635 w 9986"/>
                <a:gd name="T97" fmla="*/ 2176 h 5085"/>
                <a:gd name="T98" fmla="*/ 1539 w 9986"/>
                <a:gd name="T99" fmla="*/ 2141 h 5085"/>
                <a:gd name="T100" fmla="*/ 1365 w 9986"/>
                <a:gd name="T101" fmla="*/ 2061 h 5085"/>
                <a:gd name="T102" fmla="*/ 1322 w 9986"/>
                <a:gd name="T103" fmla="*/ 2130 h 5085"/>
                <a:gd name="T104" fmla="*/ 1237 w 9986"/>
                <a:gd name="T105" fmla="*/ 2176 h 5085"/>
                <a:gd name="T106" fmla="*/ 961 w 9986"/>
                <a:gd name="T107" fmla="*/ 2254 h 5085"/>
                <a:gd name="T108" fmla="*/ 945 w 9986"/>
                <a:gd name="T109" fmla="*/ 2303 h 5085"/>
                <a:gd name="T110" fmla="*/ 918 w 9986"/>
                <a:gd name="T111" fmla="*/ 2132 h 5085"/>
                <a:gd name="T112" fmla="*/ 720 w 9986"/>
                <a:gd name="T113" fmla="*/ 2132 h 5085"/>
                <a:gd name="T114" fmla="*/ 463 w 9986"/>
                <a:gd name="T115" fmla="*/ 2167 h 5085"/>
                <a:gd name="T116" fmla="*/ 361 w 9986"/>
                <a:gd name="T117" fmla="*/ 2345 h 5085"/>
                <a:gd name="T118" fmla="*/ 520 w 9986"/>
                <a:gd name="T119" fmla="*/ 2303 h 5085"/>
                <a:gd name="T120" fmla="*/ 76 w 9986"/>
                <a:gd name="T121" fmla="*/ 2235 h 5085"/>
                <a:gd name="T122" fmla="*/ 45 w 9986"/>
                <a:gd name="T123" fmla="*/ 2357 h 50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Freeform 6">
              <a:extLst>
                <a:ext uri="{FF2B5EF4-FFF2-40B4-BE49-F238E27FC236}">
                  <a16:creationId xmlns:a16="http://schemas.microsoft.com/office/drawing/2014/main" id="{8A4F8633-DBDB-4586-BBD9-ABF76E81FEA9}"/>
                </a:ext>
              </a:extLst>
            </p:cNvPr>
            <p:cNvSpPr>
              <a:spLocks noEditPoints="1"/>
            </p:cNvSpPr>
            <p:nvPr/>
          </p:nvSpPr>
          <p:spPr bwMode="auto">
            <a:xfrm>
              <a:off x="1481" y="1882"/>
              <a:ext cx="4755" cy="713"/>
            </a:xfrm>
            <a:custGeom>
              <a:avLst/>
              <a:gdLst>
                <a:gd name="T0" fmla="*/ 4514 w 9905"/>
                <a:gd name="T1" fmla="*/ 713 h 1485"/>
                <a:gd name="T2" fmla="*/ 4613 w 9905"/>
                <a:gd name="T3" fmla="*/ 323 h 1485"/>
                <a:gd name="T4" fmla="*/ 4433 w 9905"/>
                <a:gd name="T5" fmla="*/ 186 h 1485"/>
                <a:gd name="T6" fmla="*/ 4630 w 9905"/>
                <a:gd name="T7" fmla="*/ 131 h 1485"/>
                <a:gd name="T8" fmla="*/ 4730 w 9905"/>
                <a:gd name="T9" fmla="*/ 90 h 1485"/>
                <a:gd name="T10" fmla="*/ 4532 w 9905"/>
                <a:gd name="T11" fmla="*/ 0 h 1485"/>
                <a:gd name="T12" fmla="*/ 4463 w 9905"/>
                <a:gd name="T13" fmla="*/ 380 h 1485"/>
                <a:gd name="T14" fmla="*/ 4635 w 9905"/>
                <a:gd name="T15" fmla="*/ 517 h 1485"/>
                <a:gd name="T16" fmla="*/ 4370 w 9905"/>
                <a:gd name="T17" fmla="*/ 531 h 1485"/>
                <a:gd name="T18" fmla="*/ 3709 w 9905"/>
                <a:gd name="T19" fmla="*/ 608 h 1485"/>
                <a:gd name="T20" fmla="*/ 4178 w 9905"/>
                <a:gd name="T21" fmla="*/ 515 h 1485"/>
                <a:gd name="T22" fmla="*/ 3921 w 9905"/>
                <a:gd name="T23" fmla="*/ 268 h 1485"/>
                <a:gd name="T24" fmla="*/ 3961 w 9905"/>
                <a:gd name="T25" fmla="*/ 109 h 1485"/>
                <a:gd name="T26" fmla="*/ 4101 w 9905"/>
                <a:gd name="T27" fmla="*/ 144 h 1485"/>
                <a:gd name="T28" fmla="*/ 4113 w 9905"/>
                <a:gd name="T29" fmla="*/ 35 h 1485"/>
                <a:gd name="T30" fmla="*/ 3737 w 9905"/>
                <a:gd name="T31" fmla="*/ 190 h 1485"/>
                <a:gd name="T32" fmla="*/ 3981 w 9905"/>
                <a:gd name="T33" fmla="*/ 425 h 1485"/>
                <a:gd name="T34" fmla="*/ 3948 w 9905"/>
                <a:gd name="T35" fmla="*/ 604 h 1485"/>
                <a:gd name="T36" fmla="*/ 3709 w 9905"/>
                <a:gd name="T37" fmla="*/ 608 h 1485"/>
                <a:gd name="T38" fmla="*/ 1610 w 9905"/>
                <a:gd name="T39" fmla="*/ 713 h 1485"/>
                <a:gd name="T40" fmla="*/ 1709 w 9905"/>
                <a:gd name="T41" fmla="*/ 323 h 1485"/>
                <a:gd name="T42" fmla="*/ 1530 w 9905"/>
                <a:gd name="T43" fmla="*/ 186 h 1485"/>
                <a:gd name="T44" fmla="*/ 1727 w 9905"/>
                <a:gd name="T45" fmla="*/ 131 h 1485"/>
                <a:gd name="T46" fmla="*/ 1827 w 9905"/>
                <a:gd name="T47" fmla="*/ 90 h 1485"/>
                <a:gd name="T48" fmla="*/ 1629 w 9905"/>
                <a:gd name="T49" fmla="*/ 0 h 1485"/>
                <a:gd name="T50" fmla="*/ 1560 w 9905"/>
                <a:gd name="T51" fmla="*/ 380 h 1485"/>
                <a:gd name="T52" fmla="*/ 1733 w 9905"/>
                <a:gd name="T53" fmla="*/ 517 h 1485"/>
                <a:gd name="T54" fmla="*/ 1467 w 9905"/>
                <a:gd name="T55" fmla="*/ 531 h 1485"/>
                <a:gd name="T56" fmla="*/ 2411 w 9905"/>
                <a:gd name="T57" fmla="*/ 0 h 1485"/>
                <a:gd name="T58" fmla="*/ 2355 w 9905"/>
                <a:gd name="T59" fmla="*/ 658 h 1485"/>
                <a:gd name="T60" fmla="*/ 2468 w 9905"/>
                <a:gd name="T61" fmla="*/ 658 h 1485"/>
                <a:gd name="T62" fmla="*/ 2817 w 9905"/>
                <a:gd name="T63" fmla="*/ 670 h 1485"/>
                <a:gd name="T64" fmla="*/ 2937 w 9905"/>
                <a:gd name="T65" fmla="*/ 659 h 1485"/>
                <a:gd name="T66" fmla="*/ 2825 w 9905"/>
                <a:gd name="T67" fmla="*/ 5 h 1485"/>
                <a:gd name="T68" fmla="*/ 2473 w 9905"/>
                <a:gd name="T69" fmla="*/ 42 h 1485"/>
                <a:gd name="T70" fmla="*/ 423 w 9905"/>
                <a:gd name="T71" fmla="*/ 327 h 1485"/>
                <a:gd name="T72" fmla="*/ 313 w 9905"/>
                <a:gd name="T73" fmla="*/ 708 h 1485"/>
                <a:gd name="T74" fmla="*/ 0 w 9905"/>
                <a:gd name="T75" fmla="*/ 59 h 1485"/>
                <a:gd name="T76" fmla="*/ 299 w 9905"/>
                <a:gd name="T77" fmla="*/ 3 h 1485"/>
                <a:gd name="T78" fmla="*/ 423 w 9905"/>
                <a:gd name="T79" fmla="*/ 327 h 1485"/>
                <a:gd name="T80" fmla="*/ 284 w 9905"/>
                <a:gd name="T81" fmla="*/ 286 h 1485"/>
                <a:gd name="T82" fmla="*/ 284 w 9905"/>
                <a:gd name="T83" fmla="*/ 114 h 1485"/>
                <a:gd name="T84" fmla="*/ 114 w 9905"/>
                <a:gd name="T85" fmla="*/ 286 h 1485"/>
                <a:gd name="T86" fmla="*/ 412 w 9905"/>
                <a:gd name="T87" fmla="*/ 495 h 1485"/>
                <a:gd name="T88" fmla="*/ 114 w 9905"/>
                <a:gd name="T89" fmla="*/ 390 h 1485"/>
                <a:gd name="T90" fmla="*/ 291 w 9905"/>
                <a:gd name="T91" fmla="*/ 600 h 1485"/>
                <a:gd name="T92" fmla="*/ 3597 w 9905"/>
                <a:gd name="T93" fmla="*/ 60 h 1485"/>
                <a:gd name="T94" fmla="*/ 3189 w 9905"/>
                <a:gd name="T95" fmla="*/ 5 h 1485"/>
                <a:gd name="T96" fmla="*/ 3133 w 9905"/>
                <a:gd name="T97" fmla="*/ 655 h 1485"/>
                <a:gd name="T98" fmla="*/ 3593 w 9905"/>
                <a:gd name="T99" fmla="*/ 710 h 1485"/>
                <a:gd name="T100" fmla="*/ 3247 w 9905"/>
                <a:gd name="T101" fmla="*/ 599 h 1485"/>
                <a:gd name="T102" fmla="*/ 3508 w 9905"/>
                <a:gd name="T103" fmla="*/ 395 h 1485"/>
                <a:gd name="T104" fmla="*/ 3508 w 9905"/>
                <a:gd name="T105" fmla="*/ 284 h 1485"/>
                <a:gd name="T106" fmla="*/ 3247 w 9905"/>
                <a:gd name="T107" fmla="*/ 115 h 1485"/>
                <a:gd name="T108" fmla="*/ 785 w 9905"/>
                <a:gd name="T109" fmla="*/ 429 h 1485"/>
                <a:gd name="T110" fmla="*/ 728 w 9905"/>
                <a:gd name="T111" fmla="*/ 0 h 1485"/>
                <a:gd name="T112" fmla="*/ 672 w 9905"/>
                <a:gd name="T113" fmla="*/ 425 h 1485"/>
                <a:gd name="T114" fmla="*/ 1251 w 9905"/>
                <a:gd name="T115" fmla="*/ 425 h 1485"/>
                <a:gd name="T116" fmla="*/ 1136 w 9905"/>
                <a:gd name="T117" fmla="*/ 3 h 1485"/>
                <a:gd name="T118" fmla="*/ 961 w 9905"/>
                <a:gd name="T119" fmla="*/ 605 h 1485"/>
                <a:gd name="T120" fmla="*/ 2074 w 9905"/>
                <a:gd name="T121" fmla="*/ 0 h 1485"/>
                <a:gd name="T122" fmla="*/ 2131 w 9905"/>
                <a:gd name="T123" fmla="*/ 709 h 1485"/>
                <a:gd name="T124" fmla="*/ 2017 w 9905"/>
                <a:gd name="T125" fmla="*/ 55 h 14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1"/>
                </a:solidFill>
              </a:defRPr>
            </a:lvl1pPr>
          </a:lstStyle>
          <a:p>
            <a:r>
              <a:rPr lang="en-US"/>
              <a:t>Click to edit Master title style</a:t>
            </a:r>
          </a:p>
        </p:txBody>
      </p:sp>
    </p:spTree>
    <p:extLst>
      <p:ext uri="{BB962C8B-B14F-4D97-AF65-F5344CB8AC3E}">
        <p14:creationId xmlns:p14="http://schemas.microsoft.com/office/powerpoint/2010/main" val="16685665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CC4402F-8405-49E1-848B-4A154636B680}"/>
              </a:ext>
            </a:extLst>
          </p:cNvPr>
          <p:cNvGrpSpPr>
            <a:grpSpLocks noChangeAspect="1"/>
          </p:cNvGrpSpPr>
          <p:nvPr/>
        </p:nvGrpSpPr>
        <p:grpSpPr bwMode="auto">
          <a:xfrm>
            <a:off x="457200" y="5518737"/>
            <a:ext cx="1581912" cy="804798"/>
            <a:chOff x="1436" y="934"/>
            <a:chExt cx="4800" cy="2442"/>
          </a:xfrm>
          <a:solidFill>
            <a:srgbClr val="FFFFFF"/>
          </a:solidFill>
        </p:grpSpPr>
        <p:sp>
          <p:nvSpPr>
            <p:cNvPr id="4" name="Freeform 5">
              <a:extLst>
                <a:ext uri="{FF2B5EF4-FFF2-40B4-BE49-F238E27FC236}">
                  <a16:creationId xmlns:a16="http://schemas.microsoft.com/office/drawing/2014/main" id="{5155E04B-6D1A-45AA-A2D7-9E5999AAADA5}"/>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5" name="Freeform 6">
              <a:extLst>
                <a:ext uri="{FF2B5EF4-FFF2-40B4-BE49-F238E27FC236}">
                  <a16:creationId xmlns:a16="http://schemas.microsoft.com/office/drawing/2014/main" id="{81AD1FB8-1B2B-45F7-B299-E01593AE5412}"/>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bg1"/>
                </a:solidFill>
              </a:defRPr>
            </a:lvl1pPr>
          </a:lstStyle>
          <a:p>
            <a:r>
              <a:rPr lang="en-US"/>
              <a:t>Click to edit Master title style</a:t>
            </a:r>
          </a:p>
        </p:txBody>
      </p:sp>
    </p:spTree>
    <p:extLst>
      <p:ext uri="{BB962C8B-B14F-4D97-AF65-F5344CB8AC3E}">
        <p14:creationId xmlns:p14="http://schemas.microsoft.com/office/powerpoint/2010/main" val="41507950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pic>
        <p:nvPicPr>
          <p:cNvPr id="3" name="Picture 9">
            <a:extLst>
              <a:ext uri="{FF2B5EF4-FFF2-40B4-BE49-F238E27FC236}">
                <a16:creationId xmlns:a16="http://schemas.microsoft.com/office/drawing/2014/main" id="{A6E4A905-C13F-499D-8BAB-E9F46444BA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7675" y="5519738"/>
            <a:ext cx="1579563"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19286" y="1870075"/>
            <a:ext cx="8735827" cy="2286000"/>
          </a:xfrm>
        </p:spPr>
        <p:txBody>
          <a:bodyPr anchor="ctr">
            <a:noAutofit/>
          </a:bodyPr>
          <a:lstStyle>
            <a:lvl1pPr algn="l">
              <a:defRPr sz="8000">
                <a:solidFill>
                  <a:schemeClr val="accent2"/>
                </a:solidFill>
              </a:defRPr>
            </a:lvl1pPr>
          </a:lstStyle>
          <a:p>
            <a:r>
              <a:rPr lang="en-US"/>
              <a:t>Click to edit Master title style</a:t>
            </a:r>
          </a:p>
        </p:txBody>
      </p:sp>
    </p:spTree>
    <p:extLst>
      <p:ext uri="{BB962C8B-B14F-4D97-AF65-F5344CB8AC3E}">
        <p14:creationId xmlns:p14="http://schemas.microsoft.com/office/powerpoint/2010/main" val="24753267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Open / Close 4 (light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1F0F40DF-8612-4536-BC14-19F4D7B31EBC}"/>
              </a:ext>
            </a:extLst>
          </p:cNvPr>
          <p:cNvGrpSpPr>
            <a:grpSpLocks noChangeAspect="1"/>
          </p:cNvGrpSpPr>
          <p:nvPr/>
        </p:nvGrpSpPr>
        <p:grpSpPr bwMode="auto">
          <a:xfrm>
            <a:off x="5305425" y="5518150"/>
            <a:ext cx="1581150" cy="804863"/>
            <a:chOff x="1436" y="934"/>
            <a:chExt cx="4800" cy="2442"/>
          </a:xfrm>
        </p:grpSpPr>
        <p:sp>
          <p:nvSpPr>
            <p:cNvPr id="4" name="Freeform 5">
              <a:extLst>
                <a:ext uri="{FF2B5EF4-FFF2-40B4-BE49-F238E27FC236}">
                  <a16:creationId xmlns:a16="http://schemas.microsoft.com/office/drawing/2014/main" id="{A7256D82-A630-4D42-AE15-B4F8B0222802}"/>
                </a:ext>
              </a:extLst>
            </p:cNvPr>
            <p:cNvSpPr>
              <a:spLocks noEditPoints="1"/>
            </p:cNvSpPr>
            <p:nvPr/>
          </p:nvSpPr>
          <p:spPr bwMode="auto">
            <a:xfrm>
              <a:off x="1436" y="934"/>
              <a:ext cx="4794" cy="2442"/>
            </a:xfrm>
            <a:custGeom>
              <a:avLst/>
              <a:gdLst>
                <a:gd name="T0" fmla="*/ 4595 w 9986"/>
                <a:gd name="T1" fmla="*/ 73 h 5085"/>
                <a:gd name="T2" fmla="*/ 3281 w 9986"/>
                <a:gd name="T3" fmla="*/ 444 h 5085"/>
                <a:gd name="T4" fmla="*/ 3310 w 9986"/>
                <a:gd name="T5" fmla="*/ 375 h 5085"/>
                <a:gd name="T6" fmla="*/ 1561 w 9986"/>
                <a:gd name="T7" fmla="*/ 710 h 5085"/>
                <a:gd name="T8" fmla="*/ 2187 w 9986"/>
                <a:gd name="T9" fmla="*/ 26 h 5085"/>
                <a:gd name="T10" fmla="*/ 2401 w 9986"/>
                <a:gd name="T11" fmla="*/ 355 h 5085"/>
                <a:gd name="T12" fmla="*/ 605 w 9986"/>
                <a:gd name="T13" fmla="*/ 154 h 5085"/>
                <a:gd name="T14" fmla="*/ 354 w 9986"/>
                <a:gd name="T15" fmla="*/ 639 h 5085"/>
                <a:gd name="T16" fmla="*/ 4211 w 9986"/>
                <a:gd name="T17" fmla="*/ 76 h 5085"/>
                <a:gd name="T18" fmla="*/ 3866 w 9986"/>
                <a:gd name="T19" fmla="*/ 559 h 5085"/>
                <a:gd name="T20" fmla="*/ 1434 w 9986"/>
                <a:gd name="T21" fmla="*/ 355 h 5085"/>
                <a:gd name="T22" fmla="*/ 4711 w 9986"/>
                <a:gd name="T23" fmla="*/ 2120 h 5085"/>
                <a:gd name="T24" fmla="*/ 4761 w 9986"/>
                <a:gd name="T25" fmla="*/ 2039 h 5085"/>
                <a:gd name="T26" fmla="*/ 4590 w 9986"/>
                <a:gd name="T27" fmla="*/ 2052 h 5085"/>
                <a:gd name="T28" fmla="*/ 4517 w 9986"/>
                <a:gd name="T29" fmla="*/ 2296 h 5085"/>
                <a:gd name="T30" fmla="*/ 4503 w 9986"/>
                <a:gd name="T31" fmla="*/ 2136 h 5085"/>
                <a:gd name="T32" fmla="*/ 4507 w 9986"/>
                <a:gd name="T33" fmla="*/ 2243 h 5085"/>
                <a:gd name="T34" fmla="*/ 4281 w 9986"/>
                <a:gd name="T35" fmla="*/ 2177 h 5085"/>
                <a:gd name="T36" fmla="*/ 4321 w 9986"/>
                <a:gd name="T37" fmla="*/ 2322 h 5085"/>
                <a:gd name="T38" fmla="*/ 4282 w 9986"/>
                <a:gd name="T39" fmla="*/ 2145 h 5085"/>
                <a:gd name="T40" fmla="*/ 4026 w 9986"/>
                <a:gd name="T41" fmla="*/ 2076 h 5085"/>
                <a:gd name="T42" fmla="*/ 3976 w 9986"/>
                <a:gd name="T43" fmla="*/ 2343 h 5085"/>
                <a:gd name="T44" fmla="*/ 3862 w 9986"/>
                <a:gd name="T45" fmla="*/ 2082 h 5085"/>
                <a:gd name="T46" fmla="*/ 3950 w 9986"/>
                <a:gd name="T47" fmla="*/ 2330 h 5085"/>
                <a:gd name="T48" fmla="*/ 3739 w 9986"/>
                <a:gd name="T49" fmla="*/ 2061 h 5085"/>
                <a:gd name="T50" fmla="*/ 3665 w 9986"/>
                <a:gd name="T51" fmla="*/ 2039 h 5085"/>
                <a:gd name="T52" fmla="*/ 3523 w 9986"/>
                <a:gd name="T53" fmla="*/ 2076 h 5085"/>
                <a:gd name="T54" fmla="*/ 3394 w 9986"/>
                <a:gd name="T55" fmla="*/ 2321 h 5085"/>
                <a:gd name="T56" fmla="*/ 3278 w 9986"/>
                <a:gd name="T57" fmla="*/ 2290 h 5085"/>
                <a:gd name="T58" fmla="*/ 3353 w 9986"/>
                <a:gd name="T59" fmla="*/ 2359 h 5085"/>
                <a:gd name="T60" fmla="*/ 3353 w 9986"/>
                <a:gd name="T61" fmla="*/ 2130 h 5085"/>
                <a:gd name="T62" fmla="*/ 3125 w 9986"/>
                <a:gd name="T63" fmla="*/ 2046 h 5085"/>
                <a:gd name="T64" fmla="*/ 2903 w 9986"/>
                <a:gd name="T65" fmla="*/ 2307 h 5085"/>
                <a:gd name="T66" fmla="*/ 2909 w 9986"/>
                <a:gd name="T67" fmla="*/ 2230 h 5085"/>
                <a:gd name="T68" fmla="*/ 2927 w 9986"/>
                <a:gd name="T69" fmla="*/ 2193 h 5085"/>
                <a:gd name="T70" fmla="*/ 2928 w 9986"/>
                <a:gd name="T71" fmla="*/ 2351 h 5085"/>
                <a:gd name="T72" fmla="*/ 2800 w 9986"/>
                <a:gd name="T73" fmla="*/ 2265 h 5085"/>
                <a:gd name="T74" fmla="*/ 2839 w 9986"/>
                <a:gd name="T75" fmla="*/ 2175 h 5085"/>
                <a:gd name="T76" fmla="*/ 2859 w 9986"/>
                <a:gd name="T77" fmla="*/ 2295 h 5085"/>
                <a:gd name="T78" fmla="*/ 2533 w 9986"/>
                <a:gd name="T79" fmla="*/ 2157 h 5085"/>
                <a:gd name="T80" fmla="*/ 2433 w 9986"/>
                <a:gd name="T81" fmla="*/ 2303 h 5085"/>
                <a:gd name="T82" fmla="*/ 2592 w 9986"/>
                <a:gd name="T83" fmla="*/ 2345 h 5085"/>
                <a:gd name="T84" fmla="*/ 2269 w 9986"/>
                <a:gd name="T85" fmla="*/ 2235 h 5085"/>
                <a:gd name="T86" fmla="*/ 2158 w 9986"/>
                <a:gd name="T87" fmla="*/ 2057 h 5085"/>
                <a:gd name="T88" fmla="*/ 1803 w 9986"/>
                <a:gd name="T89" fmla="*/ 2167 h 5085"/>
                <a:gd name="T90" fmla="*/ 1934 w 9986"/>
                <a:gd name="T91" fmla="*/ 2415 h 5085"/>
                <a:gd name="T92" fmla="*/ 1931 w 9986"/>
                <a:gd name="T93" fmla="*/ 2305 h 5085"/>
                <a:gd name="T94" fmla="*/ 1895 w 9986"/>
                <a:gd name="T95" fmla="*/ 2141 h 5085"/>
                <a:gd name="T96" fmla="*/ 1635 w 9986"/>
                <a:gd name="T97" fmla="*/ 2176 h 5085"/>
                <a:gd name="T98" fmla="*/ 1539 w 9986"/>
                <a:gd name="T99" fmla="*/ 2141 h 5085"/>
                <a:gd name="T100" fmla="*/ 1365 w 9986"/>
                <a:gd name="T101" fmla="*/ 2061 h 5085"/>
                <a:gd name="T102" fmla="*/ 1322 w 9986"/>
                <a:gd name="T103" fmla="*/ 2130 h 5085"/>
                <a:gd name="T104" fmla="*/ 1237 w 9986"/>
                <a:gd name="T105" fmla="*/ 2176 h 5085"/>
                <a:gd name="T106" fmla="*/ 961 w 9986"/>
                <a:gd name="T107" fmla="*/ 2254 h 5085"/>
                <a:gd name="T108" fmla="*/ 945 w 9986"/>
                <a:gd name="T109" fmla="*/ 2303 h 5085"/>
                <a:gd name="T110" fmla="*/ 918 w 9986"/>
                <a:gd name="T111" fmla="*/ 2132 h 5085"/>
                <a:gd name="T112" fmla="*/ 720 w 9986"/>
                <a:gd name="T113" fmla="*/ 2132 h 5085"/>
                <a:gd name="T114" fmla="*/ 463 w 9986"/>
                <a:gd name="T115" fmla="*/ 2167 h 5085"/>
                <a:gd name="T116" fmla="*/ 361 w 9986"/>
                <a:gd name="T117" fmla="*/ 2345 h 5085"/>
                <a:gd name="T118" fmla="*/ 520 w 9986"/>
                <a:gd name="T119" fmla="*/ 2303 h 5085"/>
                <a:gd name="T120" fmla="*/ 76 w 9986"/>
                <a:gd name="T121" fmla="*/ 2235 h 5085"/>
                <a:gd name="T122" fmla="*/ 45 w 9986"/>
                <a:gd name="T123" fmla="*/ 2357 h 50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Freeform 6">
              <a:extLst>
                <a:ext uri="{FF2B5EF4-FFF2-40B4-BE49-F238E27FC236}">
                  <a16:creationId xmlns:a16="http://schemas.microsoft.com/office/drawing/2014/main" id="{16482C90-01A8-49E3-9FF5-3C59FE631D52}"/>
                </a:ext>
              </a:extLst>
            </p:cNvPr>
            <p:cNvSpPr>
              <a:spLocks noEditPoints="1"/>
            </p:cNvSpPr>
            <p:nvPr/>
          </p:nvSpPr>
          <p:spPr bwMode="auto">
            <a:xfrm>
              <a:off x="1481" y="1882"/>
              <a:ext cx="4755" cy="713"/>
            </a:xfrm>
            <a:custGeom>
              <a:avLst/>
              <a:gdLst>
                <a:gd name="T0" fmla="*/ 4514 w 9905"/>
                <a:gd name="T1" fmla="*/ 713 h 1485"/>
                <a:gd name="T2" fmla="*/ 4613 w 9905"/>
                <a:gd name="T3" fmla="*/ 323 h 1485"/>
                <a:gd name="T4" fmla="*/ 4433 w 9905"/>
                <a:gd name="T5" fmla="*/ 186 h 1485"/>
                <a:gd name="T6" fmla="*/ 4630 w 9905"/>
                <a:gd name="T7" fmla="*/ 131 h 1485"/>
                <a:gd name="T8" fmla="*/ 4730 w 9905"/>
                <a:gd name="T9" fmla="*/ 90 h 1485"/>
                <a:gd name="T10" fmla="*/ 4532 w 9905"/>
                <a:gd name="T11" fmla="*/ 0 h 1485"/>
                <a:gd name="T12" fmla="*/ 4463 w 9905"/>
                <a:gd name="T13" fmla="*/ 380 h 1485"/>
                <a:gd name="T14" fmla="*/ 4635 w 9905"/>
                <a:gd name="T15" fmla="*/ 517 h 1485"/>
                <a:gd name="T16" fmla="*/ 4370 w 9905"/>
                <a:gd name="T17" fmla="*/ 531 h 1485"/>
                <a:gd name="T18" fmla="*/ 3709 w 9905"/>
                <a:gd name="T19" fmla="*/ 608 h 1485"/>
                <a:gd name="T20" fmla="*/ 4178 w 9905"/>
                <a:gd name="T21" fmla="*/ 515 h 1485"/>
                <a:gd name="T22" fmla="*/ 3921 w 9905"/>
                <a:gd name="T23" fmla="*/ 268 h 1485"/>
                <a:gd name="T24" fmla="*/ 3961 w 9905"/>
                <a:gd name="T25" fmla="*/ 109 h 1485"/>
                <a:gd name="T26" fmla="*/ 4101 w 9905"/>
                <a:gd name="T27" fmla="*/ 144 h 1485"/>
                <a:gd name="T28" fmla="*/ 4113 w 9905"/>
                <a:gd name="T29" fmla="*/ 35 h 1485"/>
                <a:gd name="T30" fmla="*/ 3737 w 9905"/>
                <a:gd name="T31" fmla="*/ 190 h 1485"/>
                <a:gd name="T32" fmla="*/ 3981 w 9905"/>
                <a:gd name="T33" fmla="*/ 425 h 1485"/>
                <a:gd name="T34" fmla="*/ 3948 w 9905"/>
                <a:gd name="T35" fmla="*/ 604 h 1485"/>
                <a:gd name="T36" fmla="*/ 3709 w 9905"/>
                <a:gd name="T37" fmla="*/ 608 h 1485"/>
                <a:gd name="T38" fmla="*/ 1610 w 9905"/>
                <a:gd name="T39" fmla="*/ 713 h 1485"/>
                <a:gd name="T40" fmla="*/ 1709 w 9905"/>
                <a:gd name="T41" fmla="*/ 323 h 1485"/>
                <a:gd name="T42" fmla="*/ 1530 w 9905"/>
                <a:gd name="T43" fmla="*/ 186 h 1485"/>
                <a:gd name="T44" fmla="*/ 1727 w 9905"/>
                <a:gd name="T45" fmla="*/ 131 h 1485"/>
                <a:gd name="T46" fmla="*/ 1827 w 9905"/>
                <a:gd name="T47" fmla="*/ 90 h 1485"/>
                <a:gd name="T48" fmla="*/ 1629 w 9905"/>
                <a:gd name="T49" fmla="*/ 0 h 1485"/>
                <a:gd name="T50" fmla="*/ 1560 w 9905"/>
                <a:gd name="T51" fmla="*/ 380 h 1485"/>
                <a:gd name="T52" fmla="*/ 1733 w 9905"/>
                <a:gd name="T53" fmla="*/ 517 h 1485"/>
                <a:gd name="T54" fmla="*/ 1467 w 9905"/>
                <a:gd name="T55" fmla="*/ 531 h 1485"/>
                <a:gd name="T56" fmla="*/ 2411 w 9905"/>
                <a:gd name="T57" fmla="*/ 0 h 1485"/>
                <a:gd name="T58" fmla="*/ 2355 w 9905"/>
                <a:gd name="T59" fmla="*/ 658 h 1485"/>
                <a:gd name="T60" fmla="*/ 2468 w 9905"/>
                <a:gd name="T61" fmla="*/ 658 h 1485"/>
                <a:gd name="T62" fmla="*/ 2817 w 9905"/>
                <a:gd name="T63" fmla="*/ 670 h 1485"/>
                <a:gd name="T64" fmla="*/ 2937 w 9905"/>
                <a:gd name="T65" fmla="*/ 659 h 1485"/>
                <a:gd name="T66" fmla="*/ 2825 w 9905"/>
                <a:gd name="T67" fmla="*/ 5 h 1485"/>
                <a:gd name="T68" fmla="*/ 2473 w 9905"/>
                <a:gd name="T69" fmla="*/ 42 h 1485"/>
                <a:gd name="T70" fmla="*/ 423 w 9905"/>
                <a:gd name="T71" fmla="*/ 327 h 1485"/>
                <a:gd name="T72" fmla="*/ 313 w 9905"/>
                <a:gd name="T73" fmla="*/ 708 h 1485"/>
                <a:gd name="T74" fmla="*/ 0 w 9905"/>
                <a:gd name="T75" fmla="*/ 59 h 1485"/>
                <a:gd name="T76" fmla="*/ 299 w 9905"/>
                <a:gd name="T77" fmla="*/ 3 h 1485"/>
                <a:gd name="T78" fmla="*/ 423 w 9905"/>
                <a:gd name="T79" fmla="*/ 327 h 1485"/>
                <a:gd name="T80" fmla="*/ 284 w 9905"/>
                <a:gd name="T81" fmla="*/ 286 h 1485"/>
                <a:gd name="T82" fmla="*/ 284 w 9905"/>
                <a:gd name="T83" fmla="*/ 114 h 1485"/>
                <a:gd name="T84" fmla="*/ 114 w 9905"/>
                <a:gd name="T85" fmla="*/ 286 h 1485"/>
                <a:gd name="T86" fmla="*/ 412 w 9905"/>
                <a:gd name="T87" fmla="*/ 495 h 1485"/>
                <a:gd name="T88" fmla="*/ 114 w 9905"/>
                <a:gd name="T89" fmla="*/ 390 h 1485"/>
                <a:gd name="T90" fmla="*/ 291 w 9905"/>
                <a:gd name="T91" fmla="*/ 600 h 1485"/>
                <a:gd name="T92" fmla="*/ 3597 w 9905"/>
                <a:gd name="T93" fmla="*/ 60 h 1485"/>
                <a:gd name="T94" fmla="*/ 3189 w 9905"/>
                <a:gd name="T95" fmla="*/ 5 h 1485"/>
                <a:gd name="T96" fmla="*/ 3133 w 9905"/>
                <a:gd name="T97" fmla="*/ 655 h 1485"/>
                <a:gd name="T98" fmla="*/ 3593 w 9905"/>
                <a:gd name="T99" fmla="*/ 710 h 1485"/>
                <a:gd name="T100" fmla="*/ 3247 w 9905"/>
                <a:gd name="T101" fmla="*/ 599 h 1485"/>
                <a:gd name="T102" fmla="*/ 3508 w 9905"/>
                <a:gd name="T103" fmla="*/ 395 h 1485"/>
                <a:gd name="T104" fmla="*/ 3508 w 9905"/>
                <a:gd name="T105" fmla="*/ 284 h 1485"/>
                <a:gd name="T106" fmla="*/ 3247 w 9905"/>
                <a:gd name="T107" fmla="*/ 115 h 1485"/>
                <a:gd name="T108" fmla="*/ 785 w 9905"/>
                <a:gd name="T109" fmla="*/ 429 h 1485"/>
                <a:gd name="T110" fmla="*/ 728 w 9905"/>
                <a:gd name="T111" fmla="*/ 0 h 1485"/>
                <a:gd name="T112" fmla="*/ 672 w 9905"/>
                <a:gd name="T113" fmla="*/ 425 h 1485"/>
                <a:gd name="T114" fmla="*/ 1251 w 9905"/>
                <a:gd name="T115" fmla="*/ 425 h 1485"/>
                <a:gd name="T116" fmla="*/ 1136 w 9905"/>
                <a:gd name="T117" fmla="*/ 3 h 1485"/>
                <a:gd name="T118" fmla="*/ 961 w 9905"/>
                <a:gd name="T119" fmla="*/ 605 h 1485"/>
                <a:gd name="T120" fmla="*/ 2074 w 9905"/>
                <a:gd name="T121" fmla="*/ 0 h 1485"/>
                <a:gd name="T122" fmla="*/ 2131 w 9905"/>
                <a:gd name="T123" fmla="*/ 709 h 1485"/>
                <a:gd name="T124" fmla="*/ 2017 w 9905"/>
                <a:gd name="T125" fmla="*/ 55 h 14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6" name="Picture Placeholder 5"/>
          <p:cNvSpPr>
            <a:spLocks noGrp="1"/>
          </p:cNvSpPr>
          <p:nvPr>
            <p:ph type="pic" sz="quarter" idx="11"/>
          </p:nvPr>
        </p:nvSpPr>
        <p:spPr>
          <a:xfrm>
            <a:off x="-9144" y="-4713"/>
            <a:ext cx="12207240" cy="6876288"/>
          </a:xfrm>
          <a:solidFill>
            <a:schemeClr val="bg2">
              <a:lumMod val="95000"/>
            </a:schemeClr>
          </a:solidFill>
        </p:spPr>
        <p:txBody>
          <a:bodyPr lIns="1920240" tIns="731520" rIns="1920240" rtlCol="0">
            <a:noAutofit/>
          </a:bodyPr>
          <a:lstStyle>
            <a:lvl1pPr marL="0" indent="0">
              <a:lnSpc>
                <a:spcPct val="100000"/>
              </a:lnSpc>
              <a:spcBef>
                <a:spcPts val="0"/>
              </a:spcBef>
              <a:buNone/>
              <a:defRPr sz="1800"/>
            </a:lvl1pPr>
          </a:lstStyle>
          <a:p>
            <a:pPr lvl="0"/>
            <a:r>
              <a:rPr lang="en-US" noProof="0"/>
              <a:t>Click icon to add picture</a:t>
            </a:r>
            <a:endParaRPr lang="en-GB" noProof="0"/>
          </a:p>
        </p:txBody>
      </p:sp>
    </p:spTree>
    <p:extLst>
      <p:ext uri="{BB962C8B-B14F-4D97-AF65-F5344CB8AC3E}">
        <p14:creationId xmlns:p14="http://schemas.microsoft.com/office/powerpoint/2010/main" val="19839214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Open / Close 5 (dark image, no text)">
    <p:bg>
      <p:bgPr>
        <a:solidFill>
          <a:schemeClr val="accent1"/>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C8B0AE4E-C523-4AA3-BEEF-5F585F216BA8}"/>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5">
              <a:extLst>
                <a:ext uri="{FF2B5EF4-FFF2-40B4-BE49-F238E27FC236}">
                  <a16:creationId xmlns:a16="http://schemas.microsoft.com/office/drawing/2014/main" id="{B82A6789-0DEB-404B-A8A3-2737208A0CEE}"/>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6" name="Freeform 6">
              <a:extLst>
                <a:ext uri="{FF2B5EF4-FFF2-40B4-BE49-F238E27FC236}">
                  <a16:creationId xmlns:a16="http://schemas.microsoft.com/office/drawing/2014/main" id="{236D8C91-363B-4FAC-9434-BDFA2B920955}"/>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5" name="Picture Placeholder 5"/>
          <p:cNvSpPr>
            <a:spLocks noGrp="1"/>
          </p:cNvSpPr>
          <p:nvPr>
            <p:ph type="pic" sz="quarter" idx="11"/>
          </p:nvPr>
        </p:nvSpPr>
        <p:spPr>
          <a:xfrm>
            <a:off x="-9144" y="-4713"/>
            <a:ext cx="12207240" cy="6876288"/>
          </a:xfrm>
          <a:solidFill>
            <a:schemeClr val="tx1">
              <a:lumMod val="65000"/>
              <a:lumOff val="35000"/>
            </a:schemeClr>
          </a:solidFill>
        </p:spPr>
        <p:txBody>
          <a:bodyPr lIns="1920240" tIns="731520" rIns="1828800" rtlCol="0">
            <a:noAutofit/>
          </a:bodyPr>
          <a:lstStyle>
            <a:lvl1pPr marL="0" indent="0">
              <a:lnSpc>
                <a:spcPct val="100000"/>
              </a:lnSpc>
              <a:spcBef>
                <a:spcPts val="0"/>
              </a:spcBef>
              <a:buNone/>
              <a:defRPr sz="1800">
                <a:solidFill>
                  <a:schemeClr val="bg1"/>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149146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Open / Close 6 (alt dark image, no text)">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03E413E1-A3A2-4A6B-BAD8-ED723286A3E5}"/>
              </a:ext>
            </a:extLst>
          </p:cNvPr>
          <p:cNvGrpSpPr>
            <a:grpSpLocks noChangeAspect="1"/>
          </p:cNvGrpSpPr>
          <p:nvPr/>
        </p:nvGrpSpPr>
        <p:grpSpPr bwMode="auto">
          <a:xfrm>
            <a:off x="5305044" y="5518737"/>
            <a:ext cx="1581912" cy="804798"/>
            <a:chOff x="1436" y="934"/>
            <a:chExt cx="4800" cy="2442"/>
          </a:xfrm>
          <a:solidFill>
            <a:srgbClr val="FFFFFF"/>
          </a:solidFill>
        </p:grpSpPr>
        <p:sp>
          <p:nvSpPr>
            <p:cNvPr id="4" name="Freeform 12">
              <a:extLst>
                <a:ext uri="{FF2B5EF4-FFF2-40B4-BE49-F238E27FC236}">
                  <a16:creationId xmlns:a16="http://schemas.microsoft.com/office/drawing/2014/main" id="{FBED94BB-02B9-4C4D-89C2-89B753BC19EC}"/>
                </a:ext>
              </a:extLst>
            </p:cNvPr>
            <p:cNvSpPr>
              <a:spLocks noEditPoints="1"/>
            </p:cNvSpPr>
            <p:nvPr/>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sp>
          <p:nvSpPr>
            <p:cNvPr id="5" name="Freeform 13">
              <a:extLst>
                <a:ext uri="{FF2B5EF4-FFF2-40B4-BE49-F238E27FC236}">
                  <a16:creationId xmlns:a16="http://schemas.microsoft.com/office/drawing/2014/main" id="{8EDA803B-C1EC-4EE8-897B-63539DE34FAE}"/>
                </a:ext>
              </a:extLst>
            </p:cNvPr>
            <p:cNvSpPr>
              <a:spLocks noEditPoints="1"/>
            </p:cNvSpPr>
            <p:nvPr/>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ndParaRPr>
            </a:p>
          </p:txBody>
        </p:sp>
      </p:grpSp>
      <p:sp>
        <p:nvSpPr>
          <p:cNvPr id="7" name="Picture Placeholder 5"/>
          <p:cNvSpPr>
            <a:spLocks noGrp="1"/>
          </p:cNvSpPr>
          <p:nvPr>
            <p:ph type="pic" sz="quarter" idx="11"/>
          </p:nvPr>
        </p:nvSpPr>
        <p:spPr>
          <a:xfrm>
            <a:off x="-9144" y="-4713"/>
            <a:ext cx="12207240" cy="6876288"/>
          </a:xfrm>
          <a:solidFill>
            <a:schemeClr val="bg1">
              <a:lumMod val="50000"/>
            </a:schemeClr>
          </a:solidFill>
        </p:spPr>
        <p:txBody>
          <a:bodyPr lIns="1920240" tIns="731520" rIns="1828800" rtlCol="0">
            <a:noAutofit/>
          </a:bodyPr>
          <a:lstStyle>
            <a:lvl1pPr marL="0" indent="0">
              <a:lnSpc>
                <a:spcPct val="100000"/>
              </a:lnSpc>
              <a:spcBef>
                <a:spcPts val="0"/>
              </a:spcBef>
              <a:buNone/>
              <a:defRPr sz="1800">
                <a:solidFill>
                  <a:schemeClr val="accent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27890654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660850"/>
            <a:ext cx="11271250" cy="4025074"/>
          </a:xfrm>
          <a:prstGeom prst="rect">
            <a:avLst/>
          </a:prstGeom>
        </p:spPr>
        <p:txBody>
          <a:bodyPr lIns="0" tIns="0" rIns="0" bIns="0"/>
          <a:lstStyle>
            <a:lvl1pPr algn="l">
              <a:defRPr sz="1600" b="0" i="0">
                <a:latin typeface="Montserrat Light" pitchFamily="2" charset="77"/>
                <a:cs typeface="Montserrat Light" pitchFamily="2" charset="77"/>
              </a:defRPr>
            </a:lvl1pPr>
            <a:lvl2pPr marL="274320" indent="-274320" algn="l">
              <a:spcBef>
                <a:spcPts val="1200"/>
              </a:spcBef>
              <a:buFont typeface="Arial" panose="020B0604020202020204" pitchFamily="34" charset="0"/>
              <a:buChar char="•"/>
              <a:defRPr sz="1600" b="0" i="0">
                <a:latin typeface="Montserrat Light" pitchFamily="2" charset="77"/>
                <a:cs typeface="Montserrat Light" pitchFamily="2" charset="77"/>
              </a:defRPr>
            </a:lvl2pPr>
            <a:lvl3pPr marL="560070" indent="-285750" algn="l">
              <a:spcBef>
                <a:spcPts val="1200"/>
              </a:spcBef>
              <a:buFont typeface="System Font Regular"/>
              <a:buChar char="–"/>
              <a:defRPr sz="16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600" b="0" i="0" u="none" strike="noStrike" cap="none" spc="0" baseline="0" dirty="0">
                <a:solidFill>
                  <a:srgbClr val="000000"/>
                </a:solidFill>
                <a:uFillTx/>
                <a:latin typeface="Montserrat Light" pitchFamily="2" charset="77"/>
                <a:ea typeface="Helvetica Neue"/>
                <a:cs typeface="Montserrat Light" pitchFamily="2" charset="77"/>
                <a:sym typeface="Helvetica Neue"/>
              </a:defRPr>
            </a:lvl5pPr>
          </a:lstStyle>
          <a:p>
            <a:pPr lvl="0"/>
            <a:r>
              <a:rPr lang="en-US"/>
              <a:t>Click to edit Master text styles</a:t>
            </a:r>
          </a:p>
          <a:p>
            <a:pPr lvl="1"/>
            <a:r>
              <a:rPr lang="en-US"/>
              <a:t>Second level</a:t>
            </a:r>
          </a:p>
          <a:p>
            <a:pPr lvl="2"/>
            <a:r>
              <a:rPr lang="en-US"/>
              <a:t>Third level</a:t>
            </a:r>
          </a:p>
          <a:p>
            <a:pPr lvl="3"/>
            <a:r>
              <a:rPr lang="en-US"/>
              <a:t>Fourth level</a:t>
            </a:r>
          </a:p>
          <a:p>
            <a:pPr marL="1097280" marR="0" lvl="4" indent="-274320" algn="l" defTabSz="412750" rtl="0" latinLnBrk="0">
              <a:lnSpc>
                <a:spcPct val="100000"/>
              </a:lnSpc>
              <a:spcBef>
                <a:spcPts val="1200"/>
              </a:spcBef>
              <a:spcAft>
                <a:spcPts val="0"/>
              </a:spcAft>
              <a:buClrTx/>
              <a:buSzTx/>
              <a:buFont typeface="System Font Regular"/>
              <a:buChar char="–"/>
              <a:tabLst/>
            </a:pPr>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hasCustomPrompt="1"/>
          </p:nvPr>
        </p:nvSpPr>
        <p:spPr>
          <a:xfrm>
            <a:off x="463548" y="514928"/>
            <a:ext cx="11271251" cy="736356"/>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itchFamily="2" charset="77"/>
                <a:ea typeface="Montserrat" pitchFamily="2" charset="77"/>
                <a:cs typeface="Montserrat" pitchFamily="2" charset="77"/>
                <a:sym typeface="Helvetica Neue"/>
              </a:defRPr>
            </a:lvl1pPr>
          </a:lstStyle>
          <a:p>
            <a:r>
              <a:rPr lang="en-US"/>
              <a:t>Click to edit </a:t>
            </a:r>
            <a:br>
              <a:rPr lang="en-US"/>
            </a:br>
            <a:r>
              <a:rPr lang="en-US"/>
              <a:t>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spc="200" dirty="0">
                <a:solidFill>
                  <a:schemeClr val="accent4"/>
                </a:solidFill>
                <a:latin typeface="Montserrat" pitchFamily="2" charset="77"/>
                <a:ea typeface="Montserrat" pitchFamily="2" charset="77"/>
                <a:cs typeface="Montserrat" pitchFamily="2" charset="77"/>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a:rPr>
              <a:pPr>
                <a:defRPr/>
              </a:pPr>
              <a:t>‹#›</a:t>
            </a:fld>
            <a:endParaRPr lang="en-US">
              <a:solidFill>
                <a:srgbClr val="112F64"/>
              </a:solidFill>
              <a:latin typeface="Montserrat"/>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a:rPr>
              <a:t>© 2023 Comcast. All rights reserved.</a:t>
            </a:r>
          </a:p>
        </p:txBody>
      </p:sp>
    </p:spTree>
    <p:extLst>
      <p:ext uri="{BB962C8B-B14F-4D97-AF65-F5344CB8AC3E}">
        <p14:creationId xmlns:p14="http://schemas.microsoft.com/office/powerpoint/2010/main" val="180384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50"/>
        <p:cNvGrpSpPr/>
        <p:nvPr/>
      </p:nvGrpSpPr>
      <p:grpSpPr>
        <a:xfrm>
          <a:off x="0" y="0"/>
          <a:ext cx="0" cy="0"/>
          <a:chOff x="0" y="0"/>
          <a:chExt cx="0" cy="0"/>
        </a:xfrm>
      </p:grpSpPr>
      <p:sp>
        <p:nvSpPr>
          <p:cNvPr id="651" name="Google Shape;651;p100"/>
          <p:cNvSpPr txBox="1">
            <a:spLocks noGrp="1"/>
          </p:cNvSpPr>
          <p:nvPr>
            <p:ph type="title"/>
          </p:nvPr>
        </p:nvSpPr>
        <p:spPr>
          <a:xfrm>
            <a:off x="822000" y="669967"/>
            <a:ext cx="10569600" cy="607200"/>
          </a:xfrm>
          <a:prstGeom prst="rect">
            <a:avLst/>
          </a:prstGeom>
        </p:spPr>
        <p:txBody>
          <a:bodyPr spcFirstLastPara="1" wrap="square" lIns="0" tIns="0" rIns="0" bIns="0" anchor="t" anchorCtr="0">
            <a:noAutofit/>
          </a:bodyPr>
          <a:lstStyle>
            <a:lvl1pPr marL="0" marR="0" lvl="0" indent="0" algn="l" rtl="0">
              <a:lnSpc>
                <a:spcPct val="100000"/>
              </a:lnSpc>
              <a:spcBef>
                <a:spcPts val="0"/>
              </a:spcBef>
              <a:spcAft>
                <a:spcPts val="0"/>
              </a:spcAft>
              <a:buNone/>
              <a:defRPr sz="3000">
                <a:latin typeface="Mulish Black"/>
                <a:ea typeface="Mulish Black"/>
                <a:cs typeface="Mulish Black"/>
                <a:sym typeface="Mulish Black"/>
              </a:defRPr>
            </a:lvl1pPr>
            <a:lvl2pPr lvl="1" rtl="0">
              <a:spcBef>
                <a:spcPts val="0"/>
              </a:spcBef>
              <a:spcAft>
                <a:spcPts val="0"/>
              </a:spcAft>
              <a:buClr>
                <a:schemeClr val="dk1"/>
              </a:buClr>
              <a:buSzPts val="3700"/>
              <a:buNone/>
              <a:defRPr sz="3700">
                <a:solidFill>
                  <a:schemeClr val="dk1"/>
                </a:solidFill>
              </a:defRPr>
            </a:lvl2pPr>
            <a:lvl3pPr lvl="2" rtl="0">
              <a:spcBef>
                <a:spcPts val="0"/>
              </a:spcBef>
              <a:spcAft>
                <a:spcPts val="0"/>
              </a:spcAft>
              <a:buClr>
                <a:schemeClr val="dk1"/>
              </a:buClr>
              <a:buSzPts val="3700"/>
              <a:buNone/>
              <a:defRPr sz="3700">
                <a:solidFill>
                  <a:schemeClr val="dk1"/>
                </a:solidFill>
              </a:defRPr>
            </a:lvl3pPr>
            <a:lvl4pPr lvl="3" rtl="0">
              <a:spcBef>
                <a:spcPts val="0"/>
              </a:spcBef>
              <a:spcAft>
                <a:spcPts val="0"/>
              </a:spcAft>
              <a:buClr>
                <a:schemeClr val="dk1"/>
              </a:buClr>
              <a:buSzPts val="3700"/>
              <a:buNone/>
              <a:defRPr sz="3700">
                <a:solidFill>
                  <a:schemeClr val="dk1"/>
                </a:solidFill>
              </a:defRPr>
            </a:lvl4pPr>
            <a:lvl5pPr lvl="4" rtl="0">
              <a:spcBef>
                <a:spcPts val="0"/>
              </a:spcBef>
              <a:spcAft>
                <a:spcPts val="0"/>
              </a:spcAft>
              <a:buClr>
                <a:schemeClr val="dk1"/>
              </a:buClr>
              <a:buSzPts val="3700"/>
              <a:buNone/>
              <a:defRPr sz="3700">
                <a:solidFill>
                  <a:schemeClr val="dk1"/>
                </a:solidFill>
              </a:defRPr>
            </a:lvl5pPr>
            <a:lvl6pPr lvl="5" rtl="0">
              <a:spcBef>
                <a:spcPts val="0"/>
              </a:spcBef>
              <a:spcAft>
                <a:spcPts val="0"/>
              </a:spcAft>
              <a:buClr>
                <a:schemeClr val="dk1"/>
              </a:buClr>
              <a:buSzPts val="3700"/>
              <a:buNone/>
              <a:defRPr sz="3700">
                <a:solidFill>
                  <a:schemeClr val="dk1"/>
                </a:solidFill>
              </a:defRPr>
            </a:lvl6pPr>
            <a:lvl7pPr lvl="6" rtl="0">
              <a:spcBef>
                <a:spcPts val="0"/>
              </a:spcBef>
              <a:spcAft>
                <a:spcPts val="0"/>
              </a:spcAft>
              <a:buClr>
                <a:schemeClr val="dk1"/>
              </a:buClr>
              <a:buSzPts val="3700"/>
              <a:buNone/>
              <a:defRPr sz="3700">
                <a:solidFill>
                  <a:schemeClr val="dk1"/>
                </a:solidFill>
              </a:defRPr>
            </a:lvl7pPr>
            <a:lvl8pPr lvl="7" rtl="0">
              <a:spcBef>
                <a:spcPts val="0"/>
              </a:spcBef>
              <a:spcAft>
                <a:spcPts val="0"/>
              </a:spcAft>
              <a:buClr>
                <a:schemeClr val="dk1"/>
              </a:buClr>
              <a:buSzPts val="3700"/>
              <a:buNone/>
              <a:defRPr sz="3700">
                <a:solidFill>
                  <a:schemeClr val="dk1"/>
                </a:solidFill>
              </a:defRPr>
            </a:lvl8pPr>
            <a:lvl9pPr lvl="8" rtl="0">
              <a:spcBef>
                <a:spcPts val="0"/>
              </a:spcBef>
              <a:spcAft>
                <a:spcPts val="0"/>
              </a:spcAft>
              <a:buClr>
                <a:schemeClr val="dk1"/>
              </a:buClr>
              <a:buSzPts val="3700"/>
              <a:buNone/>
              <a:defRPr sz="3700">
                <a:solidFill>
                  <a:schemeClr val="dk1"/>
                </a:solidFill>
              </a:defRPr>
            </a:lvl9pPr>
          </a:lstStyle>
          <a:p>
            <a:endParaRPr/>
          </a:p>
        </p:txBody>
      </p:sp>
      <p:sp>
        <p:nvSpPr>
          <p:cNvPr id="652" name="Google Shape;652;p100"/>
          <p:cNvSpPr txBox="1">
            <a:spLocks noGrp="1"/>
          </p:cNvSpPr>
          <p:nvPr>
            <p:ph type="body" idx="1"/>
          </p:nvPr>
        </p:nvSpPr>
        <p:spPr>
          <a:xfrm>
            <a:off x="822000" y="1578200"/>
            <a:ext cx="10569600" cy="4555200"/>
          </a:xfrm>
          <a:prstGeom prst="rect">
            <a:avLst/>
          </a:prstGeom>
        </p:spPr>
        <p:txBody>
          <a:bodyPr spcFirstLastPara="1" wrap="square" lIns="0" tIns="0" rIns="0" bIns="0" anchor="t" anchorCtr="0">
            <a:noAutofit/>
          </a:bodyPr>
          <a:lstStyle>
            <a:lvl1pPr marL="457200" lvl="0" indent="-317500" rtl="0">
              <a:spcBef>
                <a:spcPts val="0"/>
              </a:spcBef>
              <a:spcAft>
                <a:spcPts val="0"/>
              </a:spcAft>
              <a:buSzPts val="1400"/>
              <a:buChar char="●"/>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endParaRPr/>
          </a:p>
        </p:txBody>
      </p:sp>
      <p:sp>
        <p:nvSpPr>
          <p:cNvPr id="653" name="Google Shape;653;p100"/>
          <p:cNvSpPr/>
          <p:nvPr/>
        </p:nvSpPr>
        <p:spPr>
          <a:xfrm>
            <a:off x="821700" y="1255367"/>
            <a:ext cx="1044400" cy="39600"/>
          </a:xfrm>
          <a:prstGeom prst="rect">
            <a:avLst/>
          </a:prstGeom>
          <a:solidFill>
            <a:schemeClr val="accen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900">
              <a:solidFill>
                <a:schemeClr val="lt1"/>
              </a:solidFill>
            </a:endParaRPr>
          </a:p>
        </p:txBody>
      </p:sp>
      <p:sp>
        <p:nvSpPr>
          <p:cNvPr id="2" name="TextBox 1">
            <a:extLst>
              <a:ext uri="{FF2B5EF4-FFF2-40B4-BE49-F238E27FC236}">
                <a16:creationId xmlns:a16="http://schemas.microsoft.com/office/drawing/2014/main" id="{5CC95554-8D34-13F6-7826-15993DE4ED73}"/>
              </a:ext>
            </a:extLst>
          </p:cNvPr>
          <p:cNvSpPr txBox="1"/>
          <p:nvPr userDrawn="1"/>
        </p:nvSpPr>
        <p:spPr>
          <a:xfrm>
            <a:off x="9553303" y="6531429"/>
            <a:ext cx="0" cy="0"/>
          </a:xfrm>
          <a:prstGeom prst="rect">
            <a:avLst/>
          </a:prstGeom>
          <a:noFill/>
        </p:spPr>
        <p:txBody>
          <a:bodyPr wrap="none" lIns="0" tIns="0" rIns="0" bIns="0" rtlCol="0">
            <a:noAutofit/>
          </a:bodyPr>
          <a:lstStyle/>
          <a:p>
            <a:pPr algn="l"/>
            <a:endParaRPr lang="en-US"/>
          </a:p>
        </p:txBody>
      </p:sp>
      <p:sp>
        <p:nvSpPr>
          <p:cNvPr id="4" name="TextBox 3">
            <a:extLst>
              <a:ext uri="{FF2B5EF4-FFF2-40B4-BE49-F238E27FC236}">
                <a16:creationId xmlns:a16="http://schemas.microsoft.com/office/drawing/2014/main" id="{2A9CB177-81A0-5319-44AA-0A1F599439AF}"/>
              </a:ext>
            </a:extLst>
          </p:cNvPr>
          <p:cNvSpPr txBox="1"/>
          <p:nvPr userDrawn="1"/>
        </p:nvSpPr>
        <p:spPr>
          <a:xfrm>
            <a:off x="209350" y="6416633"/>
            <a:ext cx="6097604" cy="230832"/>
          </a:xfrm>
          <a:prstGeom prst="rect">
            <a:avLst/>
          </a:prstGeom>
          <a:noFill/>
        </p:spPr>
        <p:txBody>
          <a:bodyPr wrap="square">
            <a:spAutoFit/>
          </a:bodyPr>
          <a:lstStyle/>
          <a:p>
            <a:r>
              <a:rPr lang="en-US" sz="900" dirty="0"/>
              <a:t>© 2024 Comcast. All rights reserved</a:t>
            </a:r>
          </a:p>
        </p:txBody>
      </p:sp>
    </p:spTree>
    <p:extLst>
      <p:ext uri="{BB962C8B-B14F-4D97-AF65-F5344CB8AC3E}">
        <p14:creationId xmlns:p14="http://schemas.microsoft.com/office/powerpoint/2010/main" val="32994390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rgbClr val="000000"/>
                </a:solidFill>
                <a:latin typeface="Montserrat" panose="00000500000000000000" pitchFamily="2" charset="0"/>
              </a:rPr>
              <a:t>© 2024 Comcast. All rights reserved.</a:t>
            </a:r>
          </a:p>
        </p:txBody>
      </p:sp>
    </p:spTree>
    <p:extLst>
      <p:ext uri="{BB962C8B-B14F-4D97-AF65-F5344CB8AC3E}">
        <p14:creationId xmlns:p14="http://schemas.microsoft.com/office/powerpoint/2010/main" val="67620504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userDrawn="1"/>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5F05AE8C-CF5F-4A4E-B69B-C9D8FA4EC18A}" type="slidenum">
              <a:rPr lang="en-US" smtClean="0"/>
              <a:pPr>
                <a:defRPr/>
              </a:pPr>
              <a:t>‹#›</a:t>
            </a:fld>
            <a:endParaRPr lang="en-US"/>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3 Comcast. All rights reserved.</a:t>
            </a:r>
          </a:p>
        </p:txBody>
      </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pic>
        <p:nvPicPr>
          <p:cNvPr id="10" name="Picture 9" descr="A picture containing font, graphics, screenshot, text&#10;&#10;Description automatically generated">
            <a:extLst>
              <a:ext uri="{FF2B5EF4-FFF2-40B4-BE49-F238E27FC236}">
                <a16:creationId xmlns:a16="http://schemas.microsoft.com/office/drawing/2014/main" id="{AF9424BA-36BE-9100-D73C-B982D37E24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05876" y="6179635"/>
            <a:ext cx="2435224" cy="689980"/>
          </a:xfrm>
          <a:prstGeom prst="rect">
            <a:avLst/>
          </a:prstGeom>
        </p:spPr>
      </p:pic>
    </p:spTree>
    <p:extLst>
      <p:ext uri="{BB962C8B-B14F-4D97-AF65-F5344CB8AC3E}">
        <p14:creationId xmlns:p14="http://schemas.microsoft.com/office/powerpoint/2010/main" val="38367421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defRPr sz="6000">
                <a:solidFill>
                  <a:schemeClr val="tx1"/>
                </a:solidFill>
              </a:defRPr>
            </a:lvl1pPr>
          </a:lstStyle>
          <a:p>
            <a:r>
              <a:rPr lang="en-GB"/>
              <a:t>Presentation title, Light 60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12303"/>
            <a:ext cx="4114799" cy="274320"/>
          </a:xfrm>
        </p:spPr>
        <p:txBody>
          <a:bodyPr lIns="0" tIns="0" rIns="0" bIns="0">
            <a:noAutofit/>
          </a:bodyPr>
          <a:lstStyle>
            <a:lvl1pPr>
              <a:defRPr sz="1400">
                <a:solidFill>
                  <a:schemeClr val="accent1"/>
                </a:solidFill>
              </a:defRPr>
            </a:lvl1pPr>
          </a:lstStyle>
          <a:p>
            <a:endParaRPr lang="en-US"/>
          </a:p>
        </p:txBody>
      </p:sp>
      <p:grpSp>
        <p:nvGrpSpPr>
          <p:cNvPr id="11" name="Group 4">
            <a:extLst>
              <a:ext uri="{FF2B5EF4-FFF2-40B4-BE49-F238E27FC236}">
                <a16:creationId xmlns:a16="http://schemas.microsoft.com/office/drawing/2014/main" id="{7E0F26E8-A786-402B-B35F-EA817C4E12A7}"/>
              </a:ext>
            </a:extLst>
          </p:cNvPr>
          <p:cNvGrpSpPr>
            <a:grpSpLocks noChangeAspect="1"/>
          </p:cNvGrpSpPr>
          <p:nvPr userDrawn="1"/>
        </p:nvGrpSpPr>
        <p:grpSpPr bwMode="auto">
          <a:xfrm>
            <a:off x="10149840" y="5518737"/>
            <a:ext cx="1581912" cy="804798"/>
            <a:chOff x="1436" y="934"/>
            <a:chExt cx="4800" cy="2442"/>
          </a:xfrm>
        </p:grpSpPr>
        <p:sp>
          <p:nvSpPr>
            <p:cNvPr id="12" name="Freeform 5">
              <a:extLst>
                <a:ext uri="{FF2B5EF4-FFF2-40B4-BE49-F238E27FC236}">
                  <a16:creationId xmlns:a16="http://schemas.microsoft.com/office/drawing/2014/main" id="{6F88CA11-1D6A-48C7-945B-2D460DBEB0C6}"/>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DD47092-B241-4522-BA6E-C3094A35F1DD}"/>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0268893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2" y="685800"/>
            <a:ext cx="8460345" cy="2880360"/>
          </a:xfrm>
        </p:spPr>
        <p:txBody>
          <a:bodyPr lIns="0" tIns="0" rIns="0" bIns="0" anchor="b">
            <a:noAutofit/>
          </a:bodyPr>
          <a:lstStyle>
            <a:lvl1pPr algn="l">
              <a:defRPr sz="6000">
                <a:solidFill>
                  <a:schemeClr val="bg1"/>
                </a:solidFill>
              </a:defRPr>
            </a:lvl1pPr>
          </a:lstStyle>
          <a:p>
            <a:r>
              <a:rPr lang="en-GB"/>
              <a:t>Presentation title, Light 60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3814757"/>
            <a:ext cx="8405106"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8638"/>
            <a:ext cx="4114799" cy="274320"/>
          </a:xfrm>
        </p:spPr>
        <p:txBody>
          <a:bodyPr lIns="0" tIns="0" rIns="0" bIns="0">
            <a:noAutofit/>
          </a:bodyPr>
          <a:lstStyle>
            <a:lvl1pPr>
              <a:defRPr sz="1400">
                <a:solidFill>
                  <a:schemeClr val="accent2"/>
                </a:solidFill>
              </a:defRPr>
            </a:lvl1pPr>
          </a:lstStyle>
          <a:p>
            <a:endParaRPr lang="en-US"/>
          </a:p>
        </p:txBody>
      </p:sp>
      <p:pic>
        <p:nvPicPr>
          <p:cNvPr id="12" name="Picture 11">
            <a:extLst>
              <a:ext uri="{FF2B5EF4-FFF2-40B4-BE49-F238E27FC236}">
                <a16:creationId xmlns:a16="http://schemas.microsoft.com/office/drawing/2014/main" id="{54B2FB91-70B6-C94F-B81F-8782EA6601A9}"/>
              </a:ext>
            </a:extLst>
          </p:cNvPr>
          <p:cNvPicPr>
            <a:picLocks noChangeAspect="1"/>
          </p:cNvPicPr>
          <p:nvPr userDrawn="1"/>
        </p:nvPicPr>
        <p:blipFill>
          <a:blip r:embed="rId2"/>
          <a:stretch>
            <a:fillRect/>
          </a:stretch>
        </p:blipFill>
        <p:spPr>
          <a:xfrm>
            <a:off x="10151314" y="5522410"/>
            <a:ext cx="1579935" cy="803134"/>
          </a:xfrm>
          <a:prstGeom prst="rect">
            <a:avLst/>
          </a:prstGeom>
        </p:spPr>
      </p:pic>
    </p:spTree>
    <p:extLst>
      <p:ext uri="{BB962C8B-B14F-4D97-AF65-F5344CB8AC3E}">
        <p14:creationId xmlns:p14="http://schemas.microsoft.com/office/powerpoint/2010/main" val="86194067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3" y="1746250"/>
            <a:ext cx="6583680" cy="2688589"/>
          </a:xfrm>
        </p:spPr>
        <p:txBody>
          <a:bodyPr lIns="0" tIns="0" rIns="0" bIns="0" anchor="b">
            <a:noAutofit/>
          </a:bodyPr>
          <a:lstStyle>
            <a:lvl1pPr algn="l">
              <a:defRPr sz="6000">
                <a:solidFill>
                  <a:schemeClr val="bg1"/>
                </a:solidFill>
              </a:defRPr>
            </a:lvl1pPr>
          </a:lstStyle>
          <a:p>
            <a:r>
              <a:rPr lang="en-GB"/>
              <a:t>Presentation title, Light 60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2" y="4663440"/>
            <a:ext cx="6528441" cy="641350"/>
          </a:xfr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p:spPr>
        <p:txBody>
          <a:bodyPr lIns="0" tIns="0" rIns="0" bIns="0">
            <a:noAutofit/>
          </a:bodyPr>
          <a:lstStyle>
            <a:lvl1pPr>
              <a:defRPr sz="1400">
                <a:solidFill>
                  <a:schemeClr val="accent2"/>
                </a:solidFill>
              </a:defRPr>
            </a:lvl1pPr>
          </a:lstStyle>
          <a:p>
            <a:endParaRPr lang="en-US"/>
          </a:p>
        </p:txBody>
      </p:sp>
      <p:sp>
        <p:nvSpPr>
          <p:cNvPr id="15" name="Picture Placeholder 14">
            <a:extLst>
              <a:ext uri="{FF2B5EF4-FFF2-40B4-BE49-F238E27FC236}">
                <a16:creationId xmlns:a16="http://schemas.microsoft.com/office/drawing/2014/main" id="{070D0E55-CD8A-4417-97FD-D7B02C8E36A0}"/>
              </a:ext>
            </a:extLst>
          </p:cNvPr>
          <p:cNvSpPr>
            <a:spLocks noGrp="1" noChangeAspect="1"/>
          </p:cNvSpPr>
          <p:nvPr>
            <p:ph type="pic" sz="quarter" idx="15" hasCustomPrompt="1"/>
          </p:nvPr>
        </p:nvSpPr>
        <p:spPr>
          <a:xfrm>
            <a:off x="7150608"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pic>
        <p:nvPicPr>
          <p:cNvPr id="13" name="Picture 12">
            <a:extLst>
              <a:ext uri="{FF2B5EF4-FFF2-40B4-BE49-F238E27FC236}">
                <a16:creationId xmlns:a16="http://schemas.microsoft.com/office/drawing/2014/main" id="{C1499BE5-4A89-B242-B65D-B54C361FC624}"/>
              </a:ext>
            </a:extLst>
          </p:cNvPr>
          <p:cNvPicPr>
            <a:picLocks noChangeAspect="1"/>
          </p:cNvPicPr>
          <p:nvPr userDrawn="1"/>
        </p:nvPicPr>
        <p:blipFill>
          <a:blip r:embed="rId2"/>
          <a:stretch>
            <a:fillRect/>
          </a:stretch>
        </p:blipFill>
        <p:spPr>
          <a:xfrm>
            <a:off x="454800" y="365125"/>
            <a:ext cx="1579935" cy="803134"/>
          </a:xfrm>
          <a:prstGeom prst="rect">
            <a:avLst/>
          </a:prstGeom>
        </p:spPr>
      </p:pic>
    </p:spTree>
    <p:extLst>
      <p:ext uri="{BB962C8B-B14F-4D97-AF65-F5344CB8AC3E}">
        <p14:creationId xmlns:p14="http://schemas.microsoft.com/office/powerpoint/2010/main" val="244175883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0" cy="2971800"/>
          </a:xfrm>
        </p:spPr>
        <p:txBody>
          <a:bodyPr anchor="b"/>
          <a:lstStyle>
            <a:lvl1pPr>
              <a:defRPr sz="5400">
                <a:solidFill>
                  <a:schemeClr val="accent1"/>
                </a:solidFill>
              </a:defRPr>
            </a:lvl1pPr>
          </a:lstStyle>
          <a:p>
            <a:r>
              <a:rPr lang="en-US"/>
              <a:t>Section title, Light 54pt</a:t>
            </a:r>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9" cy="641350"/>
          </a:xfrm>
        </p:spPr>
        <p:txBody>
          <a:bodyPr/>
          <a:lstStyle>
            <a:lvl1pPr marL="0" indent="0">
              <a:buNone/>
              <a:defRPr sz="20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Light 20pt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lvl1pPr>
          </a:lstStyle>
          <a:p>
            <a:r>
              <a:rPr lang="en-US" dirty="0"/>
              <a:t>© 2024 Comcast.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23416983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Section 2">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CE124-0EC5-4998-B4A4-93CF0263C844}"/>
              </a:ext>
            </a:extLst>
          </p:cNvPr>
          <p:cNvSpPr>
            <a:spLocks noGrp="1"/>
          </p:cNvSpPr>
          <p:nvPr>
            <p:ph type="title" hasCustomPrompt="1"/>
          </p:nvPr>
        </p:nvSpPr>
        <p:spPr>
          <a:xfrm>
            <a:off x="422788" y="685800"/>
            <a:ext cx="8411651" cy="2971800"/>
          </a:xfrm>
        </p:spPr>
        <p:txBody>
          <a:bodyPr anchor="b"/>
          <a:lstStyle>
            <a:lvl1pPr>
              <a:defRPr sz="5400">
                <a:solidFill>
                  <a:schemeClr val="accent2"/>
                </a:solidFill>
              </a:defRPr>
            </a:lvl1pPr>
          </a:lstStyle>
          <a:p>
            <a:r>
              <a:rPr lang="en-US"/>
              <a:t>Section title, Light 54pt</a:t>
            </a:r>
          </a:p>
        </p:txBody>
      </p:sp>
      <p:sp>
        <p:nvSpPr>
          <p:cNvPr id="3" name="Text Placeholder 2">
            <a:extLst>
              <a:ext uri="{FF2B5EF4-FFF2-40B4-BE49-F238E27FC236}">
                <a16:creationId xmlns:a16="http://schemas.microsoft.com/office/drawing/2014/main" id="{B3201D62-1ADE-45F8-9082-FBF4F1DA659F}"/>
              </a:ext>
            </a:extLst>
          </p:cNvPr>
          <p:cNvSpPr>
            <a:spLocks noGrp="1"/>
          </p:cNvSpPr>
          <p:nvPr>
            <p:ph type="body" idx="1" hasCustomPrompt="1"/>
          </p:nvPr>
        </p:nvSpPr>
        <p:spPr>
          <a:xfrm>
            <a:off x="432618" y="4101321"/>
            <a:ext cx="8401818" cy="641350"/>
          </a:xfrm>
        </p:spPr>
        <p:txBody>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Place subtitle here, Light 20pt (optional)</a:t>
            </a:r>
          </a:p>
        </p:txBody>
      </p:sp>
      <p:sp>
        <p:nvSpPr>
          <p:cNvPr id="5" name="Footer Placeholder 4">
            <a:extLst>
              <a:ext uri="{FF2B5EF4-FFF2-40B4-BE49-F238E27FC236}">
                <a16:creationId xmlns:a16="http://schemas.microsoft.com/office/drawing/2014/main" id="{B64AEE9C-6306-4EE6-B302-8A3D0855E942}"/>
              </a:ext>
            </a:extLst>
          </p:cNvPr>
          <p:cNvSpPr>
            <a:spLocks noGrp="1"/>
          </p:cNvSpPr>
          <p:nvPr>
            <p:ph type="ftr" sz="quarter" idx="11"/>
          </p:nvPr>
        </p:nvSpPr>
        <p:spPr/>
        <p:txBody>
          <a:bodyPr/>
          <a:lstStyle>
            <a:lvl1pPr algn="l">
              <a:defRPr>
                <a:solidFill>
                  <a:schemeClr val="bg1"/>
                </a:solidFill>
              </a:defRPr>
            </a:lvl1pPr>
          </a:lstStyle>
          <a:p>
            <a:r>
              <a:rPr lang="en-US" dirty="0"/>
              <a:t>© 2024 Comcast. All rights reserved.</a:t>
            </a:r>
          </a:p>
        </p:txBody>
      </p:sp>
      <p:sp>
        <p:nvSpPr>
          <p:cNvPr id="6" name="Slide Number Placeholder 5">
            <a:extLst>
              <a:ext uri="{FF2B5EF4-FFF2-40B4-BE49-F238E27FC236}">
                <a16:creationId xmlns:a16="http://schemas.microsoft.com/office/drawing/2014/main" id="{563B6988-2C6C-4AF4-851F-85ED95DB34F4}"/>
              </a:ext>
            </a:extLst>
          </p:cNvPr>
          <p:cNvSpPr>
            <a:spLocks noGrp="1"/>
          </p:cNvSpPr>
          <p:nvPr>
            <p:ph type="sldNum" sz="quarter" idx="12"/>
          </p:nvPr>
        </p:nvSpPr>
        <p:spPr/>
        <p:txBody>
          <a:bodyPr/>
          <a:lstStyle>
            <a:lvl1pPr>
              <a:defRPr>
                <a:solidFill>
                  <a:schemeClr val="accent2"/>
                </a:solidFill>
              </a:defRPr>
            </a:lvl1pPr>
          </a:lstStyle>
          <a:p>
            <a:fld id="{A07A7439-3E0E-4A6B-9524-3A8EBA819993}" type="slidenum">
              <a:rPr lang="en-US" smtClean="0"/>
              <a:pPr/>
              <a:t>‹#›</a:t>
            </a:fld>
            <a:endParaRPr lang="en-US"/>
          </a:p>
        </p:txBody>
      </p:sp>
      <p:pic>
        <p:nvPicPr>
          <p:cNvPr id="13" name="Picture 12">
            <a:extLst>
              <a:ext uri="{FF2B5EF4-FFF2-40B4-BE49-F238E27FC236}">
                <a16:creationId xmlns:a16="http://schemas.microsoft.com/office/drawing/2014/main" id="{E9FD5C63-199B-6746-9B50-5910F1F39DD3}"/>
              </a:ext>
            </a:extLst>
          </p:cNvPr>
          <p:cNvPicPr>
            <a:picLocks noChangeAspect="1"/>
          </p:cNvPicPr>
          <p:nvPr userDrawn="1"/>
        </p:nvPicPr>
        <p:blipFill>
          <a:blip r:embed="rId2"/>
          <a:stretch>
            <a:fillRect/>
          </a:stretch>
        </p:blipFill>
        <p:spPr>
          <a:xfrm>
            <a:off x="8677470" y="6439346"/>
            <a:ext cx="2525234" cy="180974"/>
          </a:xfrm>
          <a:prstGeom prst="rect">
            <a:avLst/>
          </a:prstGeom>
        </p:spPr>
      </p:pic>
    </p:spTree>
    <p:extLst>
      <p:ext uri="{BB962C8B-B14F-4D97-AF65-F5344CB8AC3E}">
        <p14:creationId xmlns:p14="http://schemas.microsoft.com/office/powerpoint/2010/main" val="1262757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61E3C-7635-4044-B5F5-389F4006992A}"/>
              </a:ext>
            </a:extLst>
          </p:cNvPr>
          <p:cNvSpPr>
            <a:spLocks noGrp="1"/>
          </p:cNvSpPr>
          <p:nvPr>
            <p:ph type="title" hasCustomPrompt="1"/>
          </p:nvPr>
        </p:nvSpPr>
        <p:spPr>
          <a:xfrm>
            <a:off x="429488" y="685800"/>
            <a:ext cx="11305312"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A52E098B-E875-4463-B2CE-5E6DCFC38DB7}"/>
              </a:ext>
            </a:extLst>
          </p:cNvPr>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5" name="Footer Placeholder 4">
            <a:extLst>
              <a:ext uri="{FF2B5EF4-FFF2-40B4-BE49-F238E27FC236}">
                <a16:creationId xmlns:a16="http://schemas.microsoft.com/office/drawing/2014/main" id="{C14AA5F4-B3DC-4C34-A0DE-CA330DA5F39B}"/>
              </a:ext>
            </a:extLst>
          </p:cNvPr>
          <p:cNvSpPr>
            <a:spLocks noGrp="1"/>
          </p:cNvSpPr>
          <p:nvPr>
            <p:ph type="ftr" sz="quarter" idx="11"/>
          </p:nvPr>
        </p:nvSpPr>
        <p:spPr/>
        <p:txBody>
          <a:bodyPr/>
          <a:lstStyle/>
          <a:p>
            <a:r>
              <a:rPr lang="en-US" dirty="0"/>
              <a:t>© 2024 Comcast. All rights reserved.</a:t>
            </a:r>
          </a:p>
        </p:txBody>
      </p:sp>
      <p:sp>
        <p:nvSpPr>
          <p:cNvPr id="6" name="Slide Number Placeholder 5">
            <a:extLst>
              <a:ext uri="{FF2B5EF4-FFF2-40B4-BE49-F238E27FC236}">
                <a16:creationId xmlns:a16="http://schemas.microsoft.com/office/drawing/2014/main" id="{9AE1DEDB-F1A2-4073-8F94-8F34A35FA7EE}"/>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9" name="Text Placeholder 8">
            <a:extLst>
              <a:ext uri="{FF2B5EF4-FFF2-40B4-BE49-F238E27FC236}">
                <a16:creationId xmlns:a16="http://schemas.microsoft.com/office/drawing/2014/main" id="{4C8AB70E-6862-463B-B409-040561D73972}"/>
              </a:ext>
            </a:extLst>
          </p:cNvPr>
          <p:cNvSpPr>
            <a:spLocks noGrp="1"/>
          </p:cNvSpPr>
          <p:nvPr>
            <p:ph type="body" sz="quarter" idx="13" hasCustomPrompt="1"/>
          </p:nvPr>
        </p:nvSpPr>
        <p:spPr>
          <a:xfrm>
            <a:off x="457317"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051573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639985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tatement 1">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Light</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lgn="l">
              <a:defRPr>
                <a:solidFill>
                  <a:schemeClr val="bg1"/>
                </a:solidFill>
              </a:defRPr>
            </a:lvl1p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pic>
        <p:nvPicPr>
          <p:cNvPr id="10" name="Picture 9">
            <a:extLst>
              <a:ext uri="{FF2B5EF4-FFF2-40B4-BE49-F238E27FC236}">
                <a16:creationId xmlns:a16="http://schemas.microsoft.com/office/drawing/2014/main" id="{B9058278-5BBE-BF4B-AAEF-57F94194B1E3}"/>
              </a:ext>
            </a:extLst>
          </p:cNvPr>
          <p:cNvPicPr>
            <a:picLocks noChangeAspect="1"/>
          </p:cNvPicPr>
          <p:nvPr userDrawn="1"/>
        </p:nvPicPr>
        <p:blipFill>
          <a:blip r:embed="rId2"/>
          <a:stretch>
            <a:fillRect/>
          </a:stretch>
        </p:blipFill>
        <p:spPr>
          <a:xfrm>
            <a:off x="8677470" y="6439346"/>
            <a:ext cx="2525234" cy="180974"/>
          </a:xfrm>
          <a:prstGeom prst="rect">
            <a:avLst/>
          </a:prstGeom>
        </p:spPr>
      </p:pic>
    </p:spTree>
    <p:extLst>
      <p:ext uri="{BB962C8B-B14F-4D97-AF65-F5344CB8AC3E}">
        <p14:creationId xmlns:p14="http://schemas.microsoft.com/office/powerpoint/2010/main" val="28116914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tement 2">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2E03E43-45EB-46FA-8891-8017EE960935}"/>
              </a:ext>
            </a:extLst>
          </p:cNvPr>
          <p:cNvSpPr/>
          <p:nvPr userDrawn="1"/>
        </p:nvSpPr>
        <p:spPr>
          <a:xfrm>
            <a:off x="6096000" y="-9144"/>
            <a:ext cx="6096000" cy="687628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5980"/>
          </a:xfrm>
        </p:spPr>
        <p:txBody>
          <a:bodyPr/>
          <a:lstStyle>
            <a:lvl1pPr marL="0" indent="0">
              <a:buNone/>
              <a:defRPr sz="4000">
                <a:solidFill>
                  <a:schemeClr val="bg1"/>
                </a:solidFill>
                <a:latin typeface="+mj-lt"/>
              </a:defRPr>
            </a:lvl1pPr>
          </a:lstStyle>
          <a:p>
            <a:pPr lvl="0"/>
            <a:r>
              <a:rPr lang="en-US"/>
              <a:t>Single level, 40pt Light</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461912"/>
            <a:ext cx="5486400" cy="584998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557784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grpSp>
        <p:nvGrpSpPr>
          <p:cNvPr id="14" name="Group 13">
            <a:extLst>
              <a:ext uri="{FF2B5EF4-FFF2-40B4-BE49-F238E27FC236}">
                <a16:creationId xmlns:a16="http://schemas.microsoft.com/office/drawing/2014/main" id="{A40D8F40-10BA-46CD-8F24-F71709C68DFD}"/>
              </a:ext>
            </a:extLst>
          </p:cNvPr>
          <p:cNvGrpSpPr>
            <a:grpSpLocks noChangeAspect="1"/>
          </p:cNvGrpSpPr>
          <p:nvPr userDrawn="1"/>
        </p:nvGrpSpPr>
        <p:grpSpPr bwMode="auto">
          <a:xfrm>
            <a:off x="8679774" y="6436900"/>
            <a:ext cx="2522538" cy="184150"/>
            <a:chOff x="288" y="4035"/>
            <a:chExt cx="1589" cy="116"/>
          </a:xfrm>
        </p:grpSpPr>
        <p:sp>
          <p:nvSpPr>
            <p:cNvPr id="15" name="Freeform 5">
              <a:extLst>
                <a:ext uri="{FF2B5EF4-FFF2-40B4-BE49-F238E27FC236}">
                  <a16:creationId xmlns:a16="http://schemas.microsoft.com/office/drawing/2014/main" id="{1CB24044-9D10-4F59-AE19-B665B09DB31E}"/>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39D16691-B665-4116-92F1-43105BE17B5E}"/>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550016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accent1"/>
        </a:solidFill>
        <a:effectLst/>
      </p:bgPr>
    </p:bg>
    <p:spTree>
      <p:nvGrpSpPr>
        <p:cNvPr id="1" name=""/>
        <p:cNvGrpSpPr/>
        <p:nvPr/>
      </p:nvGrpSpPr>
      <p:grpSpPr>
        <a:xfrm>
          <a:off x="0" y="0"/>
          <a:ext cx="0" cy="0"/>
          <a:chOff x="0" y="0"/>
          <a:chExt cx="0" cy="0"/>
        </a:xfrm>
      </p:grpSpPr>
      <p:sp>
        <p:nvSpPr>
          <p:cNvPr id="16" name="Rectangle: Single Corner Rounded 15">
            <a:extLst>
              <a:ext uri="{FF2B5EF4-FFF2-40B4-BE49-F238E27FC236}">
                <a16:creationId xmlns:a16="http://schemas.microsoft.com/office/drawing/2014/main" id="{5260F9FA-1EFA-4E42-B19E-AE498163DCDB}"/>
              </a:ext>
            </a:extLst>
          </p:cNvPr>
          <p:cNvSpPr/>
          <p:nvPr userDrawn="1"/>
        </p:nvSpPr>
        <p:spPr>
          <a:xfrm flipH="1">
            <a:off x="6447931" y="2285374"/>
            <a:ext cx="5769864" cy="4581144"/>
          </a:xfrm>
          <a:prstGeom prst="round1Rect">
            <a:avLst>
              <a:gd name="adj" fmla="val 5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8205" y="1645920"/>
            <a:ext cx="5486400" cy="4663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tx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705601" y="2560320"/>
            <a:ext cx="5029200" cy="37490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grpSp>
        <p:nvGrpSpPr>
          <p:cNvPr id="12" name="Group 11">
            <a:extLst>
              <a:ext uri="{FF2B5EF4-FFF2-40B4-BE49-F238E27FC236}">
                <a16:creationId xmlns:a16="http://schemas.microsoft.com/office/drawing/2014/main" id="{2CC27482-570B-4DEB-AB53-8F9EDB9316EA}"/>
              </a:ext>
            </a:extLst>
          </p:cNvPr>
          <p:cNvGrpSpPr>
            <a:grpSpLocks noChangeAspect="1"/>
          </p:cNvGrpSpPr>
          <p:nvPr userDrawn="1"/>
        </p:nvGrpSpPr>
        <p:grpSpPr bwMode="auto">
          <a:xfrm>
            <a:off x="8679774" y="6436900"/>
            <a:ext cx="2522538" cy="184150"/>
            <a:chOff x="288" y="4035"/>
            <a:chExt cx="1589" cy="116"/>
          </a:xfrm>
        </p:grpSpPr>
        <p:sp>
          <p:nvSpPr>
            <p:cNvPr id="13" name="Freeform 5">
              <a:extLst>
                <a:ext uri="{FF2B5EF4-FFF2-40B4-BE49-F238E27FC236}">
                  <a16:creationId xmlns:a16="http://schemas.microsoft.com/office/drawing/2014/main" id="{D039B0F0-587B-41B8-B9C3-9B60B8C9B83F}"/>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EC591140-F410-4844-8D5C-55D8195DA4B1}"/>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3414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Blue">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449F7FB-DD92-3A21-9FDC-176F05D7AAA5}"/>
              </a:ext>
            </a:extLst>
          </p:cNvPr>
          <p:cNvSpPr/>
          <p:nvPr userDrawn="1"/>
        </p:nvSpPr>
        <p:spPr>
          <a:xfrm>
            <a:off x="8890136" y="6343072"/>
            <a:ext cx="2450964" cy="465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chemeClr val="bg2"/>
                </a:solidFill>
                <a:latin typeface="Montserrat" panose="00000500000000000000" pitchFamily="2" charset="0"/>
              </a:rPr>
              <a:t>© 2023 Comcast. All rights reserved.</a:t>
            </a:r>
          </a:p>
        </p:txBody>
      </p:sp>
      <p:pic>
        <p:nvPicPr>
          <p:cNvPr id="4" name="Picture 3" descr="A picture containing font, text, graphics, graphic design&#10;&#10;Description automatically generated">
            <a:extLst>
              <a:ext uri="{FF2B5EF4-FFF2-40B4-BE49-F238E27FC236}">
                <a16:creationId xmlns:a16="http://schemas.microsoft.com/office/drawing/2014/main" id="{2C0C908C-5CC6-AE97-927C-54FE6BDA2B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05375" y="6362722"/>
            <a:ext cx="2035592" cy="321012"/>
          </a:xfrm>
          <a:prstGeom prst="rect">
            <a:avLst/>
          </a:prstGeom>
        </p:spPr>
      </p:pic>
    </p:spTree>
    <p:extLst>
      <p:ext uri="{BB962C8B-B14F-4D97-AF65-F5344CB8AC3E}">
        <p14:creationId xmlns:p14="http://schemas.microsoft.com/office/powerpoint/2010/main" val="276049374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plit 2">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userDrawn="1"/>
        </p:nvSpPr>
        <p:spPr>
          <a:xfrm>
            <a:off x="7802880" y="-9144"/>
            <a:ext cx="4389120"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9" y="685800"/>
            <a:ext cx="7132320" cy="2286000"/>
          </a:xfrm>
        </p:spPr>
        <p:txBody>
          <a:bodyPr/>
          <a:lstStyle>
            <a:lvl1pPr>
              <a:defRPr>
                <a:solidFill>
                  <a:schemeClr val="accent1"/>
                </a:solidFill>
              </a:defRPr>
            </a:lvl1pPr>
          </a:lstStyle>
          <a:p>
            <a:r>
              <a:rPr lang="en-US"/>
              <a:t>Slide title, 32pt Light</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Text Placeholder 8">
            <a:extLst>
              <a:ext uri="{FF2B5EF4-FFF2-40B4-BE49-F238E27FC236}">
                <a16:creationId xmlns:a16="http://schemas.microsoft.com/office/drawing/2014/main" id="{349B0992-35C7-46C1-990D-C73E0A449734}"/>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173039" y="2560320"/>
            <a:ext cx="3561762" cy="374904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pic>
        <p:nvPicPr>
          <p:cNvPr id="12" name="Picture 11">
            <a:extLst>
              <a:ext uri="{FF2B5EF4-FFF2-40B4-BE49-F238E27FC236}">
                <a16:creationId xmlns:a16="http://schemas.microsoft.com/office/drawing/2014/main" id="{F242BDD2-DFC6-894F-AFB8-CC06EB479821}"/>
              </a:ext>
            </a:extLst>
          </p:cNvPr>
          <p:cNvPicPr>
            <a:picLocks noChangeAspect="1"/>
          </p:cNvPicPr>
          <p:nvPr userDrawn="1"/>
        </p:nvPicPr>
        <p:blipFill>
          <a:blip r:embed="rId2"/>
          <a:stretch>
            <a:fillRect/>
          </a:stretch>
        </p:blipFill>
        <p:spPr>
          <a:xfrm>
            <a:off x="8677470" y="6439346"/>
            <a:ext cx="2525234" cy="180974"/>
          </a:xfrm>
          <a:prstGeom prst="rect">
            <a:avLst/>
          </a:prstGeom>
        </p:spPr>
      </p:pic>
    </p:spTree>
    <p:extLst>
      <p:ext uri="{BB962C8B-B14F-4D97-AF65-F5344CB8AC3E}">
        <p14:creationId xmlns:p14="http://schemas.microsoft.com/office/powerpoint/2010/main" val="25228456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Sidebar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6" y="1700784"/>
            <a:ext cx="2578101" cy="461111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55974" y="1645920"/>
            <a:ext cx="8375775"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8B5834C2-EC15-4C18-9DD5-8225C1A35858}"/>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633187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Sidebar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9155113" y="1700784"/>
            <a:ext cx="2576639" cy="4608576"/>
          </a:xfrm>
        </p:spPr>
        <p:txBody>
          <a:bodyPr/>
          <a:lstStyle>
            <a:lvl1pPr marL="0" indent="0">
              <a:lnSpc>
                <a:spcPct val="100000"/>
              </a:lnSpc>
              <a:buNone/>
              <a:defRPr sz="1400"/>
            </a:lvl1pPr>
          </a:lstStyle>
          <a:p>
            <a:pPr lvl="0"/>
            <a:r>
              <a:rPr lang="en-US"/>
              <a:t>Sidebar text, single level, 14pt Regular</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45207" y="1645920"/>
            <a:ext cx="8377239"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Text Placeholder 8">
            <a:extLst>
              <a:ext uri="{FF2B5EF4-FFF2-40B4-BE49-F238E27FC236}">
                <a16:creationId xmlns:a16="http://schemas.microsoft.com/office/drawing/2014/main" id="{A1C091E7-ED32-451F-8A99-9928B613A9E7}"/>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41544017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Bleed 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A5F4F8FD-61DD-44EC-9087-43DFD72B3DE5}"/>
              </a:ext>
            </a:extLst>
          </p:cNvPr>
          <p:cNvSpPr>
            <a:spLocks noGrp="1"/>
          </p:cNvSpPr>
          <p:nvPr>
            <p:ph type="pic" sz="quarter" idx="13" hasCustomPrompt="1"/>
          </p:nvPr>
        </p:nvSpPr>
        <p:spPr>
          <a:xfrm>
            <a:off x="6254496"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AE0115B4-FCFA-490D-A36E-34D940740EAB}"/>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29518860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Bleed 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6245350" y="1645920"/>
            <a:ext cx="5486400" cy="4663440"/>
          </a:xfrm>
        </p:spPr>
        <p:txBody>
          <a:bodyPr/>
          <a:lstStyle>
            <a:lvl1pPr>
              <a:defRPr/>
            </a:lvl1pPr>
          </a:lstStyle>
          <a:p>
            <a:pPr lvl="0"/>
            <a:r>
              <a:rPr lang="en-US"/>
              <a:t>First level, 20pt Regular</a:t>
            </a:r>
          </a:p>
          <a:p>
            <a:pPr lvl="1"/>
            <a:r>
              <a:rPr lang="en-US"/>
              <a:t>Second level, 18pt</a:t>
            </a:r>
          </a:p>
          <a:p>
            <a:pPr lvl="2"/>
            <a:r>
              <a:rPr lang="en-US"/>
              <a:t>Third level, 16pt</a:t>
            </a:r>
          </a:p>
          <a:p>
            <a:pPr lvl="3"/>
            <a:r>
              <a:rPr lang="en-US"/>
              <a:t>Fourth level, 14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Picture Placeholder 7">
            <a:extLst>
              <a:ext uri="{FF2B5EF4-FFF2-40B4-BE49-F238E27FC236}">
                <a16:creationId xmlns:a16="http://schemas.microsoft.com/office/drawing/2014/main" id="{0A142CA2-68E6-4816-A4B2-22749CD73D0F}"/>
              </a:ext>
            </a:extLst>
          </p:cNvPr>
          <p:cNvSpPr>
            <a:spLocks noGrp="1"/>
          </p:cNvSpPr>
          <p:nvPr>
            <p:ph type="pic" sz="quarter" idx="13" hasCustomPrompt="1"/>
          </p:nvPr>
        </p:nvSpPr>
        <p:spPr>
          <a:xfrm>
            <a:off x="-9144" y="1645920"/>
            <a:ext cx="5943600" cy="4663440"/>
          </a:xfrm>
          <a:solidFill>
            <a:schemeClr val="bg1">
              <a:lumMod val="95000"/>
            </a:schemeClr>
          </a:solidFill>
        </p:spPr>
        <p:txBody>
          <a:bodyPr lIns="1920240" tIns="1188720" rIns="1828800"/>
          <a:lstStyle>
            <a:lvl1pPr marL="0" indent="0">
              <a:buNone/>
              <a:defRPr>
                <a:solidFill>
                  <a:schemeClr val="accent1"/>
                </a:solidFill>
              </a:defRPr>
            </a:lvl1pPr>
          </a:lstStyle>
          <a:p>
            <a:r>
              <a:rPr lang="en-GB"/>
              <a:t>Drag picture to placeholder or click icon to add.</a:t>
            </a:r>
          </a:p>
        </p:txBody>
      </p:sp>
      <p:sp>
        <p:nvSpPr>
          <p:cNvPr id="9" name="Text Placeholder 8">
            <a:extLst>
              <a:ext uri="{FF2B5EF4-FFF2-40B4-BE49-F238E27FC236}">
                <a16:creationId xmlns:a16="http://schemas.microsoft.com/office/drawing/2014/main" id="{EF306773-DA32-4721-BFD8-1CE52FABC375}"/>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41134124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37066049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Cont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194D4-3A07-4F1A-882C-C717883D954E}"/>
              </a:ext>
            </a:extLst>
          </p:cNvPr>
          <p:cNvSpPr>
            <a:spLocks noGrp="1"/>
          </p:cNvSpPr>
          <p:nvPr>
            <p:ph type="title" hasCustomPrompt="1"/>
          </p:nvPr>
        </p:nvSpPr>
        <p:spPr>
          <a:xfrm>
            <a:off x="429488" y="685800"/>
            <a:ext cx="11305313" cy="822960"/>
          </a:xfrm>
        </p:spPr>
        <p:txBody>
          <a:bodyPr/>
          <a:lstStyle>
            <a:lvl1pPr>
              <a:defRPr>
                <a:solidFill>
                  <a:schemeClr val="bg1"/>
                </a:solidFill>
              </a:defRPr>
            </a:lvl1pPr>
          </a:lstStyle>
          <a:p>
            <a:r>
              <a:rPr lang="en-US"/>
              <a:t>Slide title, 32pt Light</a:t>
            </a:r>
          </a:p>
        </p:txBody>
      </p:sp>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54412" y="1709240"/>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3362960"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bg1"/>
                </a:solidFill>
              </a:defRPr>
            </a:lvl1p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fld id="{A07A7439-3E0E-4A6B-9524-3A8EBA819993}" type="slidenum">
              <a:rPr lang="en-US" smtClean="0"/>
              <a:pPr/>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917448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sp>
        <p:nvSpPr>
          <p:cNvPr id="9" name="Text Placeholder 8">
            <a:extLst>
              <a:ext uri="{FF2B5EF4-FFF2-40B4-BE49-F238E27FC236}">
                <a16:creationId xmlns:a16="http://schemas.microsoft.com/office/drawing/2014/main" id="{3956D059-1F18-4675-9285-602EC3522396}"/>
              </a:ext>
            </a:extLst>
          </p:cNvPr>
          <p:cNvSpPr>
            <a:spLocks noGrp="1"/>
          </p:cNvSpPr>
          <p:nvPr>
            <p:ph type="body" sz="quarter" idx="14" hasCustomPrompt="1"/>
          </p:nvPr>
        </p:nvSpPr>
        <p:spPr>
          <a:xfrm>
            <a:off x="457200" y="411480"/>
            <a:ext cx="6400800" cy="182880"/>
          </a:xfrm>
        </p:spPr>
        <p:txBody>
          <a:bodyPr/>
          <a:lstStyle>
            <a:lvl1pPr marL="0" indent="0">
              <a:buNone/>
              <a:defRPr sz="1200">
                <a:solidFill>
                  <a:schemeClr val="bg1"/>
                </a:solidFill>
              </a:defRPr>
            </a:lvl1pPr>
            <a:lvl2pPr marL="228600" indent="0">
              <a:buNone/>
              <a:defRPr/>
            </a:lvl2pPr>
          </a:lstStyle>
          <a:p>
            <a:pPr lvl="0"/>
            <a:r>
              <a:rPr lang="en-US"/>
              <a:t>Optional subtitle, 12pt Regular</a:t>
            </a:r>
          </a:p>
        </p:txBody>
      </p:sp>
      <p:sp>
        <p:nvSpPr>
          <p:cNvPr id="10" name="Content Placeholder 3">
            <a:extLst>
              <a:ext uri="{FF2B5EF4-FFF2-40B4-BE49-F238E27FC236}">
                <a16:creationId xmlns:a16="http://schemas.microsoft.com/office/drawing/2014/main" id="{7580EC8D-CC97-4EE5-81A4-71CD866AAD37}"/>
              </a:ext>
            </a:extLst>
          </p:cNvPr>
          <p:cNvSpPr>
            <a:spLocks noGrp="1"/>
          </p:cNvSpPr>
          <p:nvPr>
            <p:ph sz="half" idx="15" hasCustomPrompt="1"/>
          </p:nvPr>
        </p:nvSpPr>
        <p:spPr>
          <a:xfrm>
            <a:off x="6268721" y="1709241"/>
            <a:ext cx="2560320" cy="4617720"/>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US"/>
              <a:t>First level, 14pt Regular</a:t>
            </a:r>
          </a:p>
          <a:p>
            <a:pPr lvl="1"/>
            <a:r>
              <a:rPr lang="en-US"/>
              <a:t>Second level, 12pt</a:t>
            </a:r>
          </a:p>
          <a:p>
            <a:pPr lvl="2"/>
            <a:r>
              <a:rPr lang="en-US"/>
              <a:t>Third level, 11pt</a:t>
            </a:r>
          </a:p>
          <a:p>
            <a:pPr lvl="3"/>
            <a:r>
              <a:rPr lang="en-US"/>
              <a:t>Fourth level, 11pt</a:t>
            </a:r>
          </a:p>
          <a:p>
            <a:pPr lvl="4"/>
            <a:r>
              <a:rPr lang="en-US"/>
              <a:t>Fifth level, 11pt Bold, use for captions</a:t>
            </a:r>
          </a:p>
        </p:txBody>
      </p:sp>
      <p:pic>
        <p:nvPicPr>
          <p:cNvPr id="16" name="Picture 15">
            <a:extLst>
              <a:ext uri="{FF2B5EF4-FFF2-40B4-BE49-F238E27FC236}">
                <a16:creationId xmlns:a16="http://schemas.microsoft.com/office/drawing/2014/main" id="{72FE6A53-ED85-B940-8564-4AC08507BB12}"/>
              </a:ext>
            </a:extLst>
          </p:cNvPr>
          <p:cNvPicPr>
            <a:picLocks noChangeAspect="1"/>
          </p:cNvPicPr>
          <p:nvPr userDrawn="1"/>
        </p:nvPicPr>
        <p:blipFill>
          <a:blip r:embed="rId2"/>
          <a:stretch>
            <a:fillRect/>
          </a:stretch>
        </p:blipFill>
        <p:spPr>
          <a:xfrm>
            <a:off x="8677470" y="6439346"/>
            <a:ext cx="2525234" cy="180974"/>
          </a:xfrm>
          <a:prstGeom prst="rect">
            <a:avLst/>
          </a:prstGeom>
        </p:spPr>
      </p:pic>
    </p:spTree>
    <p:extLst>
      <p:ext uri="{BB962C8B-B14F-4D97-AF65-F5344CB8AC3E}">
        <p14:creationId xmlns:p14="http://schemas.microsoft.com/office/powerpoint/2010/main" val="4001035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230F0-0650-4B1C-9111-6BEC13E810C4}"/>
              </a:ext>
            </a:extLst>
          </p:cNvPr>
          <p:cNvSpPr>
            <a:spLocks noGrp="1"/>
          </p:cNvSpPr>
          <p:nvPr>
            <p:ph type="title" hasCustomPrompt="1"/>
          </p:nvPr>
        </p:nvSpPr>
        <p:spPr/>
        <p:txBody>
          <a:bodyPr/>
          <a:lstStyle>
            <a:lvl1pPr>
              <a:defRPr/>
            </a:lvl1pPr>
          </a:lstStyle>
          <a:p>
            <a:r>
              <a:rPr lang="en-US"/>
              <a:t>Slide title, 32pt Light</a:t>
            </a:r>
          </a:p>
        </p:txBody>
      </p:sp>
      <p:sp>
        <p:nvSpPr>
          <p:cNvPr id="4" name="Footer Placeholder 3">
            <a:extLst>
              <a:ext uri="{FF2B5EF4-FFF2-40B4-BE49-F238E27FC236}">
                <a16:creationId xmlns:a16="http://schemas.microsoft.com/office/drawing/2014/main" id="{5FC0DD1F-D3C6-49A4-9E66-BF8FF4C985AC}"/>
              </a:ext>
            </a:extLst>
          </p:cNvPr>
          <p:cNvSpPr>
            <a:spLocks noGrp="1"/>
          </p:cNvSpPr>
          <p:nvPr>
            <p:ph type="ftr" sz="quarter" idx="11"/>
          </p:nvPr>
        </p:nvSpPr>
        <p:spPr/>
        <p:txBody>
          <a:bodyPr/>
          <a:lstStyle/>
          <a:p>
            <a:r>
              <a:rPr lang="en-US" dirty="0"/>
              <a:t>© 2024 Comcast. All rights reserved.</a:t>
            </a:r>
          </a:p>
        </p:txBody>
      </p:sp>
      <p:sp>
        <p:nvSpPr>
          <p:cNvPr id="5" name="Slide Number Placeholder 4">
            <a:extLst>
              <a:ext uri="{FF2B5EF4-FFF2-40B4-BE49-F238E27FC236}">
                <a16:creationId xmlns:a16="http://schemas.microsoft.com/office/drawing/2014/main" id="{ACB796CC-F24E-451D-87D3-C83ED721C609}"/>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6" name="Text Placeholder 8">
            <a:extLst>
              <a:ext uri="{FF2B5EF4-FFF2-40B4-BE49-F238E27FC236}">
                <a16:creationId xmlns:a16="http://schemas.microsoft.com/office/drawing/2014/main" id="{47023C20-07E0-4992-98E5-17880D893962}"/>
              </a:ext>
            </a:extLst>
          </p:cNvPr>
          <p:cNvSpPr>
            <a:spLocks noGrp="1"/>
          </p:cNvSpPr>
          <p:nvPr>
            <p:ph type="body" sz="quarter" idx="13" hasCustomPrompt="1"/>
          </p:nvPr>
        </p:nvSpPr>
        <p:spPr>
          <a:xfrm>
            <a:off x="457200" y="411480"/>
            <a:ext cx="6400800" cy="182880"/>
          </a:xfrm>
        </p:spPr>
        <p:txBody>
          <a:bodyPr/>
          <a:lstStyle>
            <a:lvl1pPr marL="0" indent="0">
              <a:buNone/>
              <a:defRPr sz="1200">
                <a:solidFill>
                  <a:schemeClr val="accent1"/>
                </a:solidFill>
              </a:defRPr>
            </a:lvl1pPr>
            <a:lvl2pPr marL="228600" indent="0">
              <a:buNone/>
              <a:defRPr/>
            </a:lvl2pPr>
          </a:lstStyle>
          <a:p>
            <a:pPr lvl="0"/>
            <a:r>
              <a:rPr lang="en-US"/>
              <a:t>Optional subtitle, 12pt Regular</a:t>
            </a:r>
          </a:p>
        </p:txBody>
      </p:sp>
    </p:spTree>
    <p:extLst>
      <p:ext uri="{BB962C8B-B14F-4D97-AF65-F5344CB8AC3E}">
        <p14:creationId xmlns:p14="http://schemas.microsoft.com/office/powerpoint/2010/main" val="15085720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BA56F86-8CE3-48BA-A860-8A3E6614258B}"/>
              </a:ext>
            </a:extLst>
          </p:cNvPr>
          <p:cNvSpPr>
            <a:spLocks noGrp="1"/>
          </p:cNvSpPr>
          <p:nvPr>
            <p:ph type="ftr" sz="quarter" idx="11"/>
          </p:nvPr>
        </p:nvSpPr>
        <p:spPr/>
        <p:txBody>
          <a:bodyPr/>
          <a:lstStyle/>
          <a:p>
            <a:r>
              <a:rPr lang="en-US" dirty="0"/>
              <a:t>© 2024 Comcast. All rights reserved.</a:t>
            </a:r>
          </a:p>
        </p:txBody>
      </p:sp>
      <p:sp>
        <p:nvSpPr>
          <p:cNvPr id="4" name="Slide Number Placeholder 3">
            <a:extLst>
              <a:ext uri="{FF2B5EF4-FFF2-40B4-BE49-F238E27FC236}">
                <a16:creationId xmlns:a16="http://schemas.microsoft.com/office/drawing/2014/main" id="{BDB46465-AD4F-416C-82FD-569FFB4C5440}"/>
              </a:ext>
            </a:extLst>
          </p:cNvPr>
          <p:cNvSpPr>
            <a:spLocks noGrp="1"/>
          </p:cNvSpPr>
          <p:nvPr>
            <p:ph type="sldNum" sz="quarter" idx="12"/>
          </p:nvPr>
        </p:nvSpPr>
        <p:spPr/>
        <p:txBody>
          <a:bodyPr/>
          <a:lstStyle/>
          <a:p>
            <a:fld id="{A07A7439-3E0E-4A6B-9524-3A8EBA819993}" type="slidenum">
              <a:rPr lang="en-US" smtClean="0"/>
              <a:t>‹#›</a:t>
            </a:fld>
            <a:endParaRPr lang="en-US"/>
          </a:p>
        </p:txBody>
      </p:sp>
    </p:spTree>
    <p:extLst>
      <p:ext uri="{BB962C8B-B14F-4D97-AF65-F5344CB8AC3E}">
        <p14:creationId xmlns:p14="http://schemas.microsoft.com/office/powerpoint/2010/main" val="27680789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losing 1">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1" y="1234440"/>
            <a:ext cx="6583680" cy="3200400"/>
          </a:xfrm>
        </p:spPr>
        <p:txBody>
          <a:bodyPr lIns="0" tIns="0" rIns="0" bIns="0" anchor="b">
            <a:noAutofit/>
          </a:bodyPr>
          <a:lstStyle>
            <a:lvl1pPr algn="l">
              <a:defRPr sz="6000">
                <a:solidFill>
                  <a:schemeClr val="bg1"/>
                </a:solidFill>
              </a:defRPr>
            </a:lvl1pPr>
          </a:lstStyle>
          <a:p>
            <a:r>
              <a:rPr lang="en-GB"/>
              <a:t>Closing statement, Light 60pt, max 3 lines</a:t>
            </a:r>
          </a:p>
        </p:txBody>
      </p:sp>
      <p:sp>
        <p:nvSpPr>
          <p:cNvPr id="10" name="Picture Placeholder 9">
            <a:extLst>
              <a:ext uri="{FF2B5EF4-FFF2-40B4-BE49-F238E27FC236}">
                <a16:creationId xmlns:a16="http://schemas.microsoft.com/office/drawing/2014/main" id="{B627D238-8B66-492F-B324-DB17A6988A4D}"/>
              </a:ext>
            </a:extLst>
          </p:cNvPr>
          <p:cNvSpPr>
            <a:spLocks noGrp="1" noChangeAspect="1"/>
          </p:cNvSpPr>
          <p:nvPr>
            <p:ph type="pic" sz="quarter" idx="15" hasCustomPrompt="1"/>
          </p:nvPr>
        </p:nvSpPr>
        <p:spPr>
          <a:xfrm>
            <a:off x="7159752" y="-9144"/>
            <a:ext cx="5039057" cy="6876288"/>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solidFill>
            <a:schemeClr val="bg1">
              <a:lumMod val="95000"/>
            </a:schemeClr>
          </a:solidFill>
        </p:spPr>
        <p:txBody>
          <a:bodyPr wrap="square" lIns="1554480" tIns="2194560" rIns="1188720">
            <a:noAutofit/>
          </a:bodyPr>
          <a:lstStyle>
            <a:lvl1pPr marL="0" indent="0">
              <a:buNone/>
              <a:defRPr>
                <a:solidFill>
                  <a:schemeClr val="accent1"/>
                </a:solidFill>
              </a:defRPr>
            </a:lvl1pPr>
          </a:lstStyle>
          <a:p>
            <a:r>
              <a:rPr lang="en-GB"/>
              <a:t>Drag picture to placeholder or click icon to add.</a:t>
            </a:r>
            <a:endParaRPr lang="en-US"/>
          </a:p>
        </p:txBody>
      </p:sp>
      <p:sp>
        <p:nvSpPr>
          <p:cNvPr id="14" name="Date Placeholder 3">
            <a:extLst>
              <a:ext uri="{FF2B5EF4-FFF2-40B4-BE49-F238E27FC236}">
                <a16:creationId xmlns:a16="http://schemas.microsoft.com/office/drawing/2014/main" id="{8E2DEB5C-F5A4-4973-BC76-1D81FD9B0062}"/>
              </a:ext>
            </a:extLst>
          </p:cNvPr>
          <p:cNvSpPr>
            <a:spLocks noGrp="1"/>
          </p:cNvSpPr>
          <p:nvPr>
            <p:ph type="dt" sz="half" idx="10"/>
          </p:nvPr>
        </p:nvSpPr>
        <p:spPr>
          <a:xfrm>
            <a:off x="457200" y="487079"/>
            <a:ext cx="4114799" cy="274320"/>
          </a:xfrm>
        </p:spPr>
        <p:txBody>
          <a:bodyPr lIns="0" tIns="0" rIns="0" bIns="0">
            <a:noAutofit/>
          </a:bodyPr>
          <a:lstStyle>
            <a:lvl1pPr>
              <a:defRPr sz="1400">
                <a:solidFill>
                  <a:schemeClr val="accent2"/>
                </a:solidFill>
              </a:defRPr>
            </a:lvl1pPr>
          </a:lstStyle>
          <a:p>
            <a:endParaRPr lang="en-US"/>
          </a:p>
        </p:txBody>
      </p:sp>
      <p:pic>
        <p:nvPicPr>
          <p:cNvPr id="13" name="Picture 12">
            <a:extLst>
              <a:ext uri="{FF2B5EF4-FFF2-40B4-BE49-F238E27FC236}">
                <a16:creationId xmlns:a16="http://schemas.microsoft.com/office/drawing/2014/main" id="{E711A7E2-9708-9240-BB20-117C6BE16F72}"/>
              </a:ext>
            </a:extLst>
          </p:cNvPr>
          <p:cNvPicPr>
            <a:picLocks noChangeAspect="1"/>
          </p:cNvPicPr>
          <p:nvPr userDrawn="1"/>
        </p:nvPicPr>
        <p:blipFill>
          <a:blip r:embed="rId2"/>
          <a:stretch>
            <a:fillRect/>
          </a:stretch>
        </p:blipFill>
        <p:spPr>
          <a:xfrm>
            <a:off x="447496" y="5518959"/>
            <a:ext cx="1579935" cy="803134"/>
          </a:xfrm>
          <a:prstGeom prst="rect">
            <a:avLst/>
          </a:prstGeom>
        </p:spPr>
      </p:pic>
    </p:spTree>
    <p:extLst>
      <p:ext uri="{BB962C8B-B14F-4D97-AF65-F5344CB8AC3E}">
        <p14:creationId xmlns:p14="http://schemas.microsoft.com/office/powerpoint/2010/main" val="113122373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32936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Open / Clos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1"/>
                </a:solidFill>
              </a:defRPr>
            </a:lvl1pPr>
          </a:lstStyle>
          <a:p>
            <a:r>
              <a:rPr lang="en-US"/>
              <a:t>Welcome/Thank You, 80pt Light</a:t>
            </a:r>
          </a:p>
        </p:txBody>
      </p:sp>
      <p:grpSp>
        <p:nvGrpSpPr>
          <p:cNvPr id="9" name="Group 4">
            <a:extLst>
              <a:ext uri="{FF2B5EF4-FFF2-40B4-BE49-F238E27FC236}">
                <a16:creationId xmlns:a16="http://schemas.microsoft.com/office/drawing/2014/main" id="{287A7A37-C7B7-403C-8341-0565305278F5}"/>
              </a:ext>
            </a:extLst>
          </p:cNvPr>
          <p:cNvGrpSpPr>
            <a:grpSpLocks noChangeAspect="1"/>
          </p:cNvGrpSpPr>
          <p:nvPr userDrawn="1"/>
        </p:nvGrpSpPr>
        <p:grpSpPr bwMode="auto">
          <a:xfrm>
            <a:off x="457200" y="5518737"/>
            <a:ext cx="1581912" cy="804798"/>
            <a:chOff x="1436" y="934"/>
            <a:chExt cx="4800" cy="2442"/>
          </a:xfrm>
        </p:grpSpPr>
        <p:sp>
          <p:nvSpPr>
            <p:cNvPr id="10" name="Freeform 5">
              <a:extLst>
                <a:ext uri="{FF2B5EF4-FFF2-40B4-BE49-F238E27FC236}">
                  <a16:creationId xmlns:a16="http://schemas.microsoft.com/office/drawing/2014/main" id="{CD06D851-1B61-47DD-86BE-49C73A0CA509}"/>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A3B23DD1-5EED-45F8-AEA6-3C882D3156E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499853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Open / Clos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bg1"/>
                </a:solidFill>
              </a:defRPr>
            </a:lvl1pPr>
          </a:lstStyle>
          <a:p>
            <a:r>
              <a:rPr lang="en-US"/>
              <a:t>Welcome/Thank You, 80pt Light</a:t>
            </a:r>
          </a:p>
        </p:txBody>
      </p:sp>
      <p:grpSp>
        <p:nvGrpSpPr>
          <p:cNvPr id="5" name="Group 4">
            <a:extLst>
              <a:ext uri="{FF2B5EF4-FFF2-40B4-BE49-F238E27FC236}">
                <a16:creationId xmlns:a16="http://schemas.microsoft.com/office/drawing/2014/main" id="{BCCF4974-1FF4-44E7-B86D-DF5ADD444AA5}"/>
              </a:ext>
            </a:extLst>
          </p:cNvPr>
          <p:cNvGrpSpPr>
            <a:grpSpLocks noChangeAspect="1"/>
          </p:cNvGrpSpPr>
          <p:nvPr userDrawn="1"/>
        </p:nvGrpSpPr>
        <p:grpSpPr bwMode="auto">
          <a:xfrm>
            <a:off x="457200"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EF7ECB4-FF76-4D2B-9AC7-061A1A097E48}"/>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823990B6-A25A-41AD-9114-1B6CCFF46C1F}"/>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82405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Open / Close 3">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419286" y="1870075"/>
            <a:ext cx="8735827" cy="2286000"/>
          </a:xfrm>
        </p:spPr>
        <p:txBody>
          <a:bodyPr lIns="0" tIns="0" rIns="0" bIns="0" anchor="ctr">
            <a:noAutofit/>
          </a:bodyPr>
          <a:lstStyle>
            <a:lvl1pPr algn="l">
              <a:defRPr sz="8000">
                <a:solidFill>
                  <a:schemeClr val="accent2"/>
                </a:solidFill>
              </a:defRPr>
            </a:lvl1pPr>
          </a:lstStyle>
          <a:p>
            <a:r>
              <a:rPr lang="en-US"/>
              <a:t>Welcome/Thank You, 80pt Light</a:t>
            </a:r>
          </a:p>
        </p:txBody>
      </p:sp>
      <p:pic>
        <p:nvPicPr>
          <p:cNvPr id="7" name="Picture 6">
            <a:extLst>
              <a:ext uri="{FF2B5EF4-FFF2-40B4-BE49-F238E27FC236}">
                <a16:creationId xmlns:a16="http://schemas.microsoft.com/office/drawing/2014/main" id="{EBF24231-BCF3-0A41-A3B5-E38E2357264D}"/>
              </a:ext>
            </a:extLst>
          </p:cNvPr>
          <p:cNvPicPr>
            <a:picLocks noChangeAspect="1"/>
          </p:cNvPicPr>
          <p:nvPr userDrawn="1"/>
        </p:nvPicPr>
        <p:blipFill>
          <a:blip r:embed="rId2"/>
          <a:stretch>
            <a:fillRect/>
          </a:stretch>
        </p:blipFill>
        <p:spPr>
          <a:xfrm>
            <a:off x="447496" y="5518959"/>
            <a:ext cx="1579935" cy="803134"/>
          </a:xfrm>
          <a:prstGeom prst="rect">
            <a:avLst/>
          </a:prstGeom>
        </p:spPr>
      </p:pic>
    </p:spTree>
    <p:extLst>
      <p:ext uri="{BB962C8B-B14F-4D97-AF65-F5344CB8AC3E}">
        <p14:creationId xmlns:p14="http://schemas.microsoft.com/office/powerpoint/2010/main" val="17843305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Open / Close 4 (light image, no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3CE0BEE-3AF9-4A1F-BA76-1CBDB6A0730E}"/>
              </a:ext>
            </a:extLst>
          </p:cNvPr>
          <p:cNvSpPr>
            <a:spLocks noGrp="1"/>
          </p:cNvSpPr>
          <p:nvPr>
            <p:ph type="pic" sz="quarter" idx="11" hasCustomPrompt="1"/>
          </p:nvPr>
        </p:nvSpPr>
        <p:spPr>
          <a:xfrm>
            <a:off x="-9144" y="-4713"/>
            <a:ext cx="12207240" cy="6876288"/>
          </a:xfrm>
          <a:solidFill>
            <a:schemeClr val="bg2">
              <a:lumMod val="95000"/>
            </a:schemeClr>
          </a:solidFill>
        </p:spPr>
        <p:txBody>
          <a:bodyPr lIns="1920240" tIns="731520" rIns="1920240"/>
          <a:lstStyle>
            <a:lvl1pPr marL="0" indent="0">
              <a:lnSpc>
                <a:spcPct val="100000"/>
              </a:lnSpc>
              <a:spcBef>
                <a:spcPts val="0"/>
              </a:spcBef>
              <a:buNone/>
              <a:defRPr sz="1800"/>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7" name="Group 4">
            <a:extLst>
              <a:ext uri="{FF2B5EF4-FFF2-40B4-BE49-F238E27FC236}">
                <a16:creationId xmlns:a16="http://schemas.microsoft.com/office/drawing/2014/main" id="{A5834913-29B4-434C-9EA3-011295D666ED}"/>
              </a:ext>
            </a:extLst>
          </p:cNvPr>
          <p:cNvGrpSpPr>
            <a:grpSpLocks noChangeAspect="1"/>
          </p:cNvGrpSpPr>
          <p:nvPr userDrawn="1"/>
        </p:nvGrpSpPr>
        <p:grpSpPr bwMode="auto">
          <a:xfrm>
            <a:off x="5305042" y="5518737"/>
            <a:ext cx="1581912" cy="804798"/>
            <a:chOff x="1436" y="934"/>
            <a:chExt cx="4800" cy="2442"/>
          </a:xfrm>
        </p:grpSpPr>
        <p:sp>
          <p:nvSpPr>
            <p:cNvPr id="8" name="Freeform 5">
              <a:extLst>
                <a:ext uri="{FF2B5EF4-FFF2-40B4-BE49-F238E27FC236}">
                  <a16:creationId xmlns:a16="http://schemas.microsoft.com/office/drawing/2014/main" id="{EE859BC5-1244-4873-AC90-2CDB41CFAD1D}"/>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solidFill>
              <a:srgbClr val="112F6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737D5364-EB18-4378-BBA3-005BF465AB27}"/>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solidFill>
              <a:srgbClr val="0D62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87910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Open / Close 5 (dark image, no text)">
    <p:bg>
      <p:bgPr>
        <a:solidFill>
          <a:schemeClr val="accent1"/>
        </a:solidFill>
        <a:effectLst/>
      </p:bgPr>
    </p:bg>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7FE7D31C-5159-4543-9319-0E3A0617C02F}"/>
              </a:ext>
            </a:extLst>
          </p:cNvPr>
          <p:cNvSpPr>
            <a:spLocks noGrp="1"/>
          </p:cNvSpPr>
          <p:nvPr>
            <p:ph type="pic" sz="quarter" idx="11" hasCustomPrompt="1"/>
          </p:nvPr>
        </p:nvSpPr>
        <p:spPr>
          <a:xfrm>
            <a:off x="-9144" y="-4713"/>
            <a:ext cx="12207240" cy="6876288"/>
          </a:xfrm>
          <a:solidFill>
            <a:schemeClr val="tx1">
              <a:lumMod val="65000"/>
              <a:lumOff val="35000"/>
            </a:schemeClr>
          </a:solidFill>
        </p:spPr>
        <p:txBody>
          <a:bodyPr lIns="1920240" tIns="731520" rIns="1828800"/>
          <a:lstStyle>
            <a:lvl1pPr marL="0" indent="0">
              <a:lnSpc>
                <a:spcPct val="100000"/>
              </a:lnSpc>
              <a:spcBef>
                <a:spcPts val="0"/>
              </a:spcBef>
              <a:buNone/>
              <a:defRPr sz="1800">
                <a:solidFill>
                  <a:schemeClr val="bg1"/>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4" name="Group 4">
            <a:extLst>
              <a:ext uri="{FF2B5EF4-FFF2-40B4-BE49-F238E27FC236}">
                <a16:creationId xmlns:a16="http://schemas.microsoft.com/office/drawing/2014/main" id="{769D8226-0C80-40A4-B1D5-3591B61DF912}"/>
              </a:ext>
            </a:extLst>
          </p:cNvPr>
          <p:cNvGrpSpPr>
            <a:grpSpLocks noChangeAspect="1"/>
          </p:cNvGrpSpPr>
          <p:nvPr userDrawn="1"/>
        </p:nvGrpSpPr>
        <p:grpSpPr bwMode="auto">
          <a:xfrm>
            <a:off x="5305044" y="5518737"/>
            <a:ext cx="1581912" cy="804798"/>
            <a:chOff x="1436" y="934"/>
            <a:chExt cx="4800" cy="2442"/>
          </a:xfrm>
          <a:solidFill>
            <a:srgbClr val="FFFFFF"/>
          </a:solidFill>
        </p:grpSpPr>
        <p:sp>
          <p:nvSpPr>
            <p:cNvPr id="6" name="Freeform 5">
              <a:extLst>
                <a:ext uri="{FF2B5EF4-FFF2-40B4-BE49-F238E27FC236}">
                  <a16:creationId xmlns:a16="http://schemas.microsoft.com/office/drawing/2014/main" id="{BFE04C84-2E2C-4E54-8A43-35943E328853}"/>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1105FF82-2BE4-49C5-A705-317A4E143818}"/>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949131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Open / Close 6 (alt dark image, no tex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9AB9824A-F0C7-443E-8E14-C45A75A5B36E}"/>
              </a:ext>
            </a:extLst>
          </p:cNvPr>
          <p:cNvSpPr>
            <a:spLocks noGrp="1"/>
          </p:cNvSpPr>
          <p:nvPr>
            <p:ph type="pic" sz="quarter" idx="11" hasCustomPrompt="1"/>
          </p:nvPr>
        </p:nvSpPr>
        <p:spPr>
          <a:xfrm>
            <a:off x="-9144" y="-4713"/>
            <a:ext cx="12207240" cy="6876288"/>
          </a:xfrm>
          <a:solidFill>
            <a:schemeClr val="bg1">
              <a:lumMod val="50000"/>
            </a:schemeClr>
          </a:solidFill>
        </p:spPr>
        <p:txBody>
          <a:bodyPr lIns="1920240" tIns="731520" rIns="1828800"/>
          <a:lstStyle>
            <a:lvl1pPr marL="0" indent="0">
              <a:lnSpc>
                <a:spcPct val="100000"/>
              </a:lnSpc>
              <a:spcBef>
                <a:spcPts val="0"/>
              </a:spcBef>
              <a:buNone/>
              <a:defRPr sz="1800">
                <a:solidFill>
                  <a:schemeClr val="accent2"/>
                </a:solidFill>
              </a:defRPr>
            </a:lvl1pPr>
          </a:lstStyle>
          <a:p>
            <a:r>
              <a:rPr lang="en-GB"/>
              <a:t>Drag picture to placeholder or click icon to add, then send to back. If logo not showing on slide, copy from slide master and paste on slide layout ensuring position matches the slide master (it should by default).</a:t>
            </a:r>
          </a:p>
        </p:txBody>
      </p:sp>
      <p:grpSp>
        <p:nvGrpSpPr>
          <p:cNvPr id="10" name="Group 4">
            <a:extLst>
              <a:ext uri="{FF2B5EF4-FFF2-40B4-BE49-F238E27FC236}">
                <a16:creationId xmlns:a16="http://schemas.microsoft.com/office/drawing/2014/main" id="{F2BC78BF-79F2-304A-97F8-5830354C8719}"/>
              </a:ext>
            </a:extLst>
          </p:cNvPr>
          <p:cNvGrpSpPr>
            <a:grpSpLocks noChangeAspect="1"/>
          </p:cNvGrpSpPr>
          <p:nvPr userDrawn="1"/>
        </p:nvGrpSpPr>
        <p:grpSpPr bwMode="auto">
          <a:xfrm>
            <a:off x="5305044" y="5518737"/>
            <a:ext cx="1581912" cy="804798"/>
            <a:chOff x="1436" y="934"/>
            <a:chExt cx="4800" cy="2442"/>
          </a:xfrm>
          <a:solidFill>
            <a:srgbClr val="FFFFFF"/>
          </a:solidFill>
        </p:grpSpPr>
        <p:sp>
          <p:nvSpPr>
            <p:cNvPr id="13" name="Freeform 12">
              <a:extLst>
                <a:ext uri="{FF2B5EF4-FFF2-40B4-BE49-F238E27FC236}">
                  <a16:creationId xmlns:a16="http://schemas.microsoft.com/office/drawing/2014/main" id="{4CB4E099-7AE3-734B-92B2-5ED76E77F03C}"/>
                </a:ext>
              </a:extLst>
            </p:cNvPr>
            <p:cNvSpPr>
              <a:spLocks noEditPoints="1"/>
            </p:cNvSpPr>
            <p:nvPr userDrawn="1"/>
          </p:nvSpPr>
          <p:spPr bwMode="auto">
            <a:xfrm>
              <a:off x="1436" y="934"/>
              <a:ext cx="4794" cy="2442"/>
            </a:xfrm>
            <a:custGeom>
              <a:avLst/>
              <a:gdLst>
                <a:gd name="T0" fmla="*/ 9572 w 9986"/>
                <a:gd name="T1" fmla="*/ 153 h 5085"/>
                <a:gd name="T2" fmla="*/ 6835 w 9986"/>
                <a:gd name="T3" fmla="*/ 925 h 5085"/>
                <a:gd name="T4" fmla="*/ 6895 w 9986"/>
                <a:gd name="T5" fmla="*/ 780 h 5085"/>
                <a:gd name="T6" fmla="*/ 3251 w 9986"/>
                <a:gd name="T7" fmla="*/ 1478 h 5085"/>
                <a:gd name="T8" fmla="*/ 4555 w 9986"/>
                <a:gd name="T9" fmla="*/ 55 h 5085"/>
                <a:gd name="T10" fmla="*/ 5001 w 9986"/>
                <a:gd name="T11" fmla="*/ 740 h 5085"/>
                <a:gd name="T12" fmla="*/ 1260 w 9986"/>
                <a:gd name="T13" fmla="*/ 320 h 5085"/>
                <a:gd name="T14" fmla="*/ 738 w 9986"/>
                <a:gd name="T15" fmla="*/ 1331 h 5085"/>
                <a:gd name="T16" fmla="*/ 8772 w 9986"/>
                <a:gd name="T17" fmla="*/ 158 h 5085"/>
                <a:gd name="T18" fmla="*/ 8053 w 9986"/>
                <a:gd name="T19" fmla="*/ 1163 h 5085"/>
                <a:gd name="T20" fmla="*/ 2988 w 9986"/>
                <a:gd name="T21" fmla="*/ 740 h 5085"/>
                <a:gd name="T22" fmla="*/ 9814 w 9986"/>
                <a:gd name="T23" fmla="*/ 4415 h 5085"/>
                <a:gd name="T24" fmla="*/ 9918 w 9986"/>
                <a:gd name="T25" fmla="*/ 4246 h 5085"/>
                <a:gd name="T26" fmla="*/ 9562 w 9986"/>
                <a:gd name="T27" fmla="*/ 4273 h 5085"/>
                <a:gd name="T28" fmla="*/ 9408 w 9986"/>
                <a:gd name="T29" fmla="*/ 4780 h 5085"/>
                <a:gd name="T30" fmla="*/ 9380 w 9986"/>
                <a:gd name="T31" fmla="*/ 4447 h 5085"/>
                <a:gd name="T32" fmla="*/ 9389 w 9986"/>
                <a:gd name="T33" fmla="*/ 4671 h 5085"/>
                <a:gd name="T34" fmla="*/ 8917 w 9986"/>
                <a:gd name="T35" fmla="*/ 4533 h 5085"/>
                <a:gd name="T36" fmla="*/ 9001 w 9986"/>
                <a:gd name="T37" fmla="*/ 4836 h 5085"/>
                <a:gd name="T38" fmla="*/ 8919 w 9986"/>
                <a:gd name="T39" fmla="*/ 4466 h 5085"/>
                <a:gd name="T40" fmla="*/ 8387 w 9986"/>
                <a:gd name="T41" fmla="*/ 4323 h 5085"/>
                <a:gd name="T42" fmla="*/ 8282 w 9986"/>
                <a:gd name="T43" fmla="*/ 4879 h 5085"/>
                <a:gd name="T44" fmla="*/ 8045 w 9986"/>
                <a:gd name="T45" fmla="*/ 4336 h 5085"/>
                <a:gd name="T46" fmla="*/ 8228 w 9986"/>
                <a:gd name="T47" fmla="*/ 4852 h 5085"/>
                <a:gd name="T48" fmla="*/ 7788 w 9986"/>
                <a:gd name="T49" fmla="*/ 4291 h 5085"/>
                <a:gd name="T50" fmla="*/ 7635 w 9986"/>
                <a:gd name="T51" fmla="*/ 4246 h 5085"/>
                <a:gd name="T52" fmla="*/ 7339 w 9986"/>
                <a:gd name="T53" fmla="*/ 4323 h 5085"/>
                <a:gd name="T54" fmla="*/ 7070 w 9986"/>
                <a:gd name="T55" fmla="*/ 4833 h 5085"/>
                <a:gd name="T56" fmla="*/ 6828 w 9986"/>
                <a:gd name="T57" fmla="*/ 4769 h 5085"/>
                <a:gd name="T58" fmla="*/ 6985 w 9986"/>
                <a:gd name="T59" fmla="*/ 4912 h 5085"/>
                <a:gd name="T60" fmla="*/ 6985 w 9986"/>
                <a:gd name="T61" fmla="*/ 4435 h 5085"/>
                <a:gd name="T62" fmla="*/ 6510 w 9986"/>
                <a:gd name="T63" fmla="*/ 4260 h 5085"/>
                <a:gd name="T64" fmla="*/ 6046 w 9986"/>
                <a:gd name="T65" fmla="*/ 4804 h 5085"/>
                <a:gd name="T66" fmla="*/ 6059 w 9986"/>
                <a:gd name="T67" fmla="*/ 4643 h 5085"/>
                <a:gd name="T68" fmla="*/ 6098 w 9986"/>
                <a:gd name="T69" fmla="*/ 4567 h 5085"/>
                <a:gd name="T70" fmla="*/ 6099 w 9986"/>
                <a:gd name="T71" fmla="*/ 4896 h 5085"/>
                <a:gd name="T72" fmla="*/ 5833 w 9986"/>
                <a:gd name="T73" fmla="*/ 4717 h 5085"/>
                <a:gd name="T74" fmla="*/ 5913 w 9986"/>
                <a:gd name="T75" fmla="*/ 4530 h 5085"/>
                <a:gd name="T76" fmla="*/ 5956 w 9986"/>
                <a:gd name="T77" fmla="*/ 4779 h 5085"/>
                <a:gd name="T78" fmla="*/ 5277 w 9986"/>
                <a:gd name="T79" fmla="*/ 4491 h 5085"/>
                <a:gd name="T80" fmla="*/ 5069 w 9986"/>
                <a:gd name="T81" fmla="*/ 4796 h 5085"/>
                <a:gd name="T82" fmla="*/ 5399 w 9986"/>
                <a:gd name="T83" fmla="*/ 4882 h 5085"/>
                <a:gd name="T84" fmla="*/ 4727 w 9986"/>
                <a:gd name="T85" fmla="*/ 4653 h 5085"/>
                <a:gd name="T86" fmla="*/ 4495 w 9986"/>
                <a:gd name="T87" fmla="*/ 4284 h 5085"/>
                <a:gd name="T88" fmla="*/ 3755 w 9986"/>
                <a:gd name="T89" fmla="*/ 4512 h 5085"/>
                <a:gd name="T90" fmla="*/ 4028 w 9986"/>
                <a:gd name="T91" fmla="*/ 5028 h 5085"/>
                <a:gd name="T92" fmla="*/ 4023 w 9986"/>
                <a:gd name="T93" fmla="*/ 4799 h 5085"/>
                <a:gd name="T94" fmla="*/ 3948 w 9986"/>
                <a:gd name="T95" fmla="*/ 4459 h 5085"/>
                <a:gd name="T96" fmla="*/ 3405 w 9986"/>
                <a:gd name="T97" fmla="*/ 4531 h 5085"/>
                <a:gd name="T98" fmla="*/ 3205 w 9986"/>
                <a:gd name="T99" fmla="*/ 4459 h 5085"/>
                <a:gd name="T100" fmla="*/ 2844 w 9986"/>
                <a:gd name="T101" fmla="*/ 4291 h 5085"/>
                <a:gd name="T102" fmla="*/ 2753 w 9986"/>
                <a:gd name="T103" fmla="*/ 4435 h 5085"/>
                <a:gd name="T104" fmla="*/ 2577 w 9986"/>
                <a:gd name="T105" fmla="*/ 4531 h 5085"/>
                <a:gd name="T106" fmla="*/ 2001 w 9986"/>
                <a:gd name="T107" fmla="*/ 4693 h 5085"/>
                <a:gd name="T108" fmla="*/ 1969 w 9986"/>
                <a:gd name="T109" fmla="*/ 4796 h 5085"/>
                <a:gd name="T110" fmla="*/ 1912 w 9986"/>
                <a:gd name="T111" fmla="*/ 4439 h 5085"/>
                <a:gd name="T112" fmla="*/ 1500 w 9986"/>
                <a:gd name="T113" fmla="*/ 4439 h 5085"/>
                <a:gd name="T114" fmla="*/ 965 w 9986"/>
                <a:gd name="T115" fmla="*/ 4513 h 5085"/>
                <a:gd name="T116" fmla="*/ 753 w 9986"/>
                <a:gd name="T117" fmla="*/ 4882 h 5085"/>
                <a:gd name="T118" fmla="*/ 1083 w 9986"/>
                <a:gd name="T119" fmla="*/ 4796 h 5085"/>
                <a:gd name="T120" fmla="*/ 159 w 9986"/>
                <a:gd name="T121" fmla="*/ 4653 h 5085"/>
                <a:gd name="T122" fmla="*/ 93 w 9986"/>
                <a:gd name="T123" fmla="*/ 4908 h 5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86" h="5085">
                  <a:moveTo>
                    <a:pt x="9986" y="81"/>
                  </a:moveTo>
                  <a:cubicBezTo>
                    <a:pt x="9986" y="41"/>
                    <a:pt x="9953" y="8"/>
                    <a:pt x="9913" y="8"/>
                  </a:cubicBezTo>
                  <a:lnTo>
                    <a:pt x="9093" y="8"/>
                  </a:lnTo>
                  <a:cubicBezTo>
                    <a:pt x="9053" y="8"/>
                    <a:pt x="9020" y="40"/>
                    <a:pt x="9020" y="81"/>
                  </a:cubicBezTo>
                  <a:cubicBezTo>
                    <a:pt x="9020" y="121"/>
                    <a:pt x="9051" y="153"/>
                    <a:pt x="9093" y="153"/>
                  </a:cubicBezTo>
                  <a:lnTo>
                    <a:pt x="9438" y="153"/>
                  </a:lnTo>
                  <a:lnTo>
                    <a:pt x="9438" y="1468"/>
                  </a:lnTo>
                  <a:lnTo>
                    <a:pt x="9572" y="1468"/>
                  </a:lnTo>
                  <a:lnTo>
                    <a:pt x="9572" y="153"/>
                  </a:lnTo>
                  <a:lnTo>
                    <a:pt x="9915" y="153"/>
                  </a:lnTo>
                  <a:cubicBezTo>
                    <a:pt x="9955" y="155"/>
                    <a:pt x="9986" y="121"/>
                    <a:pt x="9986" y="81"/>
                  </a:cubicBezTo>
                  <a:close/>
                  <a:moveTo>
                    <a:pt x="7113" y="1"/>
                  </a:moveTo>
                  <a:cubicBezTo>
                    <a:pt x="7085" y="1"/>
                    <a:pt x="7065" y="20"/>
                    <a:pt x="7051" y="43"/>
                  </a:cubicBezTo>
                  <a:cubicBezTo>
                    <a:pt x="7040" y="66"/>
                    <a:pt x="6505" y="1386"/>
                    <a:pt x="6505" y="1386"/>
                  </a:cubicBezTo>
                  <a:cubicBezTo>
                    <a:pt x="6501" y="1395"/>
                    <a:pt x="6500" y="1403"/>
                    <a:pt x="6500" y="1411"/>
                  </a:cubicBezTo>
                  <a:cubicBezTo>
                    <a:pt x="6500" y="1448"/>
                    <a:pt x="6528" y="1476"/>
                    <a:pt x="6565" y="1476"/>
                  </a:cubicBezTo>
                  <a:cubicBezTo>
                    <a:pt x="6593" y="1476"/>
                    <a:pt x="6617" y="1460"/>
                    <a:pt x="6626" y="1435"/>
                  </a:cubicBezTo>
                  <a:lnTo>
                    <a:pt x="6835" y="925"/>
                  </a:lnTo>
                  <a:lnTo>
                    <a:pt x="7393" y="925"/>
                  </a:lnTo>
                  <a:lnTo>
                    <a:pt x="7615" y="1468"/>
                  </a:lnTo>
                  <a:lnTo>
                    <a:pt x="7756" y="1468"/>
                  </a:lnTo>
                  <a:cubicBezTo>
                    <a:pt x="7756" y="1468"/>
                    <a:pt x="7188" y="65"/>
                    <a:pt x="7176" y="41"/>
                  </a:cubicBezTo>
                  <a:cubicBezTo>
                    <a:pt x="7163" y="20"/>
                    <a:pt x="7142" y="1"/>
                    <a:pt x="7113" y="1"/>
                  </a:cubicBezTo>
                  <a:moveTo>
                    <a:pt x="6895" y="780"/>
                  </a:moveTo>
                  <a:lnTo>
                    <a:pt x="7115" y="240"/>
                  </a:lnTo>
                  <a:lnTo>
                    <a:pt x="7335" y="780"/>
                  </a:lnTo>
                  <a:lnTo>
                    <a:pt x="6895" y="780"/>
                  </a:lnTo>
                  <a:close/>
                  <a:moveTo>
                    <a:pt x="4490" y="1"/>
                  </a:moveTo>
                  <a:cubicBezTo>
                    <a:pt x="4463" y="1"/>
                    <a:pt x="4441" y="20"/>
                    <a:pt x="4430" y="41"/>
                  </a:cubicBezTo>
                  <a:cubicBezTo>
                    <a:pt x="4418" y="65"/>
                    <a:pt x="3995" y="1108"/>
                    <a:pt x="3995" y="1108"/>
                  </a:cubicBezTo>
                  <a:cubicBezTo>
                    <a:pt x="3995" y="1108"/>
                    <a:pt x="3572" y="63"/>
                    <a:pt x="3560" y="41"/>
                  </a:cubicBezTo>
                  <a:cubicBezTo>
                    <a:pt x="3548" y="18"/>
                    <a:pt x="3526" y="1"/>
                    <a:pt x="3500" y="1"/>
                  </a:cubicBezTo>
                  <a:cubicBezTo>
                    <a:pt x="3468" y="1"/>
                    <a:pt x="3443" y="25"/>
                    <a:pt x="3435" y="55"/>
                  </a:cubicBezTo>
                  <a:cubicBezTo>
                    <a:pt x="3426" y="85"/>
                    <a:pt x="3188" y="1400"/>
                    <a:pt x="3188" y="1400"/>
                  </a:cubicBezTo>
                  <a:cubicBezTo>
                    <a:pt x="3188" y="1405"/>
                    <a:pt x="3186" y="1408"/>
                    <a:pt x="3186" y="1413"/>
                  </a:cubicBezTo>
                  <a:cubicBezTo>
                    <a:pt x="3186" y="1450"/>
                    <a:pt x="3216" y="1478"/>
                    <a:pt x="3251" y="1478"/>
                  </a:cubicBezTo>
                  <a:cubicBezTo>
                    <a:pt x="3283" y="1478"/>
                    <a:pt x="3310" y="1455"/>
                    <a:pt x="3316" y="1425"/>
                  </a:cubicBezTo>
                  <a:lnTo>
                    <a:pt x="3523" y="300"/>
                  </a:lnTo>
                  <a:cubicBezTo>
                    <a:pt x="3523" y="300"/>
                    <a:pt x="3921" y="1283"/>
                    <a:pt x="3933" y="1306"/>
                  </a:cubicBezTo>
                  <a:cubicBezTo>
                    <a:pt x="3945" y="1330"/>
                    <a:pt x="3966" y="1348"/>
                    <a:pt x="3995" y="1348"/>
                  </a:cubicBezTo>
                  <a:cubicBezTo>
                    <a:pt x="4022" y="1348"/>
                    <a:pt x="4045" y="1330"/>
                    <a:pt x="4056" y="1306"/>
                  </a:cubicBezTo>
                  <a:cubicBezTo>
                    <a:pt x="4068" y="1283"/>
                    <a:pt x="4466" y="300"/>
                    <a:pt x="4466" y="300"/>
                  </a:cubicBezTo>
                  <a:lnTo>
                    <a:pt x="4681" y="1470"/>
                  </a:lnTo>
                  <a:lnTo>
                    <a:pt x="4815" y="1470"/>
                  </a:lnTo>
                  <a:cubicBezTo>
                    <a:pt x="4815" y="1470"/>
                    <a:pt x="4563" y="85"/>
                    <a:pt x="4555" y="55"/>
                  </a:cubicBezTo>
                  <a:cubicBezTo>
                    <a:pt x="4545" y="25"/>
                    <a:pt x="4522" y="1"/>
                    <a:pt x="4490" y="1"/>
                  </a:cubicBezTo>
                  <a:moveTo>
                    <a:pt x="5740" y="146"/>
                  </a:moveTo>
                  <a:cubicBezTo>
                    <a:pt x="5898" y="146"/>
                    <a:pt x="6047" y="208"/>
                    <a:pt x="6158" y="320"/>
                  </a:cubicBezTo>
                  <a:cubicBezTo>
                    <a:pt x="6185" y="346"/>
                    <a:pt x="6235" y="346"/>
                    <a:pt x="6261" y="320"/>
                  </a:cubicBezTo>
                  <a:cubicBezTo>
                    <a:pt x="6275" y="306"/>
                    <a:pt x="6283" y="288"/>
                    <a:pt x="6283" y="268"/>
                  </a:cubicBezTo>
                  <a:cubicBezTo>
                    <a:pt x="6283" y="248"/>
                    <a:pt x="6275" y="230"/>
                    <a:pt x="6261" y="216"/>
                  </a:cubicBezTo>
                  <a:lnTo>
                    <a:pt x="6253" y="208"/>
                  </a:lnTo>
                  <a:cubicBezTo>
                    <a:pt x="6115" y="75"/>
                    <a:pt x="5933" y="1"/>
                    <a:pt x="5740" y="1"/>
                  </a:cubicBezTo>
                  <a:cubicBezTo>
                    <a:pt x="5333" y="1"/>
                    <a:pt x="5001" y="333"/>
                    <a:pt x="5001" y="740"/>
                  </a:cubicBezTo>
                  <a:cubicBezTo>
                    <a:pt x="5001" y="1146"/>
                    <a:pt x="5333" y="1478"/>
                    <a:pt x="5740" y="1478"/>
                  </a:cubicBezTo>
                  <a:cubicBezTo>
                    <a:pt x="5955" y="1478"/>
                    <a:pt x="6148" y="1386"/>
                    <a:pt x="6283" y="1238"/>
                  </a:cubicBezTo>
                  <a:lnTo>
                    <a:pt x="6180" y="1135"/>
                  </a:lnTo>
                  <a:cubicBezTo>
                    <a:pt x="6072" y="1255"/>
                    <a:pt x="5915" y="1331"/>
                    <a:pt x="5740" y="1331"/>
                  </a:cubicBezTo>
                  <a:cubicBezTo>
                    <a:pt x="5413" y="1331"/>
                    <a:pt x="5147" y="1065"/>
                    <a:pt x="5147" y="738"/>
                  </a:cubicBezTo>
                  <a:cubicBezTo>
                    <a:pt x="5147" y="413"/>
                    <a:pt x="5413" y="146"/>
                    <a:pt x="5740" y="146"/>
                  </a:cubicBezTo>
                  <a:moveTo>
                    <a:pt x="736" y="146"/>
                  </a:moveTo>
                  <a:cubicBezTo>
                    <a:pt x="895" y="146"/>
                    <a:pt x="1043" y="208"/>
                    <a:pt x="1156" y="320"/>
                  </a:cubicBezTo>
                  <a:cubicBezTo>
                    <a:pt x="1183" y="346"/>
                    <a:pt x="1233" y="346"/>
                    <a:pt x="1260" y="320"/>
                  </a:cubicBezTo>
                  <a:cubicBezTo>
                    <a:pt x="1273" y="306"/>
                    <a:pt x="1281" y="288"/>
                    <a:pt x="1281" y="268"/>
                  </a:cubicBezTo>
                  <a:cubicBezTo>
                    <a:pt x="1281" y="248"/>
                    <a:pt x="1275" y="230"/>
                    <a:pt x="1260" y="216"/>
                  </a:cubicBezTo>
                  <a:lnTo>
                    <a:pt x="1251" y="208"/>
                  </a:lnTo>
                  <a:cubicBezTo>
                    <a:pt x="1113" y="75"/>
                    <a:pt x="931" y="1"/>
                    <a:pt x="738" y="1"/>
                  </a:cubicBezTo>
                  <a:cubicBezTo>
                    <a:pt x="331" y="1"/>
                    <a:pt x="0" y="333"/>
                    <a:pt x="0" y="740"/>
                  </a:cubicBezTo>
                  <a:cubicBezTo>
                    <a:pt x="0" y="1146"/>
                    <a:pt x="331" y="1478"/>
                    <a:pt x="738" y="1478"/>
                  </a:cubicBezTo>
                  <a:cubicBezTo>
                    <a:pt x="953" y="1478"/>
                    <a:pt x="1147" y="1386"/>
                    <a:pt x="1281" y="1238"/>
                  </a:cubicBezTo>
                  <a:lnTo>
                    <a:pt x="1178" y="1135"/>
                  </a:lnTo>
                  <a:cubicBezTo>
                    <a:pt x="1070" y="1255"/>
                    <a:pt x="911" y="1331"/>
                    <a:pt x="738" y="1331"/>
                  </a:cubicBezTo>
                  <a:cubicBezTo>
                    <a:pt x="411" y="1331"/>
                    <a:pt x="145" y="1065"/>
                    <a:pt x="145" y="738"/>
                  </a:cubicBezTo>
                  <a:cubicBezTo>
                    <a:pt x="143" y="413"/>
                    <a:pt x="410" y="146"/>
                    <a:pt x="736" y="146"/>
                  </a:cubicBezTo>
                  <a:moveTo>
                    <a:pt x="8613" y="748"/>
                  </a:moveTo>
                  <a:cubicBezTo>
                    <a:pt x="8573" y="728"/>
                    <a:pt x="8333" y="603"/>
                    <a:pt x="8298" y="585"/>
                  </a:cubicBezTo>
                  <a:cubicBezTo>
                    <a:pt x="8172" y="520"/>
                    <a:pt x="8126" y="463"/>
                    <a:pt x="8126" y="366"/>
                  </a:cubicBezTo>
                  <a:cubicBezTo>
                    <a:pt x="8126" y="231"/>
                    <a:pt x="8236" y="145"/>
                    <a:pt x="8408" y="145"/>
                  </a:cubicBezTo>
                  <a:cubicBezTo>
                    <a:pt x="8508" y="145"/>
                    <a:pt x="8606" y="188"/>
                    <a:pt x="8663" y="221"/>
                  </a:cubicBezTo>
                  <a:cubicBezTo>
                    <a:pt x="8673" y="226"/>
                    <a:pt x="8686" y="230"/>
                    <a:pt x="8698" y="230"/>
                  </a:cubicBezTo>
                  <a:cubicBezTo>
                    <a:pt x="8738" y="230"/>
                    <a:pt x="8772" y="198"/>
                    <a:pt x="8772" y="158"/>
                  </a:cubicBezTo>
                  <a:cubicBezTo>
                    <a:pt x="8772" y="131"/>
                    <a:pt x="8756" y="108"/>
                    <a:pt x="8735" y="95"/>
                  </a:cubicBezTo>
                  <a:cubicBezTo>
                    <a:pt x="8663" y="55"/>
                    <a:pt x="8542" y="0"/>
                    <a:pt x="8410" y="0"/>
                  </a:cubicBezTo>
                  <a:cubicBezTo>
                    <a:pt x="8158" y="0"/>
                    <a:pt x="7983" y="150"/>
                    <a:pt x="7983" y="366"/>
                  </a:cubicBezTo>
                  <a:cubicBezTo>
                    <a:pt x="7983" y="560"/>
                    <a:pt x="8110" y="651"/>
                    <a:pt x="8235" y="715"/>
                  </a:cubicBezTo>
                  <a:cubicBezTo>
                    <a:pt x="8270" y="733"/>
                    <a:pt x="8513" y="858"/>
                    <a:pt x="8550" y="878"/>
                  </a:cubicBezTo>
                  <a:cubicBezTo>
                    <a:pt x="8647" y="928"/>
                    <a:pt x="8700" y="1005"/>
                    <a:pt x="8700" y="1091"/>
                  </a:cubicBezTo>
                  <a:cubicBezTo>
                    <a:pt x="8700" y="1208"/>
                    <a:pt x="8601" y="1331"/>
                    <a:pt x="8418" y="1331"/>
                  </a:cubicBezTo>
                  <a:cubicBezTo>
                    <a:pt x="8240" y="1331"/>
                    <a:pt x="8101" y="1211"/>
                    <a:pt x="8065" y="1175"/>
                  </a:cubicBezTo>
                  <a:lnTo>
                    <a:pt x="8053" y="1163"/>
                  </a:lnTo>
                  <a:lnTo>
                    <a:pt x="7945" y="1261"/>
                  </a:lnTo>
                  <a:lnTo>
                    <a:pt x="7958" y="1273"/>
                  </a:lnTo>
                  <a:cubicBezTo>
                    <a:pt x="8006" y="1320"/>
                    <a:pt x="8180" y="1475"/>
                    <a:pt x="8418" y="1475"/>
                  </a:cubicBezTo>
                  <a:cubicBezTo>
                    <a:pt x="8685" y="1475"/>
                    <a:pt x="8845" y="1278"/>
                    <a:pt x="8845" y="1088"/>
                  </a:cubicBezTo>
                  <a:cubicBezTo>
                    <a:pt x="8843" y="950"/>
                    <a:pt x="8760" y="825"/>
                    <a:pt x="8613" y="748"/>
                  </a:cubicBezTo>
                  <a:moveTo>
                    <a:pt x="2250" y="1"/>
                  </a:moveTo>
                  <a:cubicBezTo>
                    <a:pt x="1843" y="1"/>
                    <a:pt x="1511" y="333"/>
                    <a:pt x="1511" y="740"/>
                  </a:cubicBezTo>
                  <a:cubicBezTo>
                    <a:pt x="1511" y="1146"/>
                    <a:pt x="1843" y="1478"/>
                    <a:pt x="2250" y="1478"/>
                  </a:cubicBezTo>
                  <a:cubicBezTo>
                    <a:pt x="2656" y="1478"/>
                    <a:pt x="2988" y="1146"/>
                    <a:pt x="2988" y="740"/>
                  </a:cubicBezTo>
                  <a:cubicBezTo>
                    <a:pt x="2988" y="333"/>
                    <a:pt x="2656" y="1"/>
                    <a:pt x="2250" y="1"/>
                  </a:cubicBezTo>
                  <a:moveTo>
                    <a:pt x="2250" y="1331"/>
                  </a:moveTo>
                  <a:cubicBezTo>
                    <a:pt x="1923" y="1331"/>
                    <a:pt x="1656" y="1065"/>
                    <a:pt x="1656" y="738"/>
                  </a:cubicBezTo>
                  <a:cubicBezTo>
                    <a:pt x="1656" y="411"/>
                    <a:pt x="1923" y="145"/>
                    <a:pt x="2250" y="145"/>
                  </a:cubicBezTo>
                  <a:cubicBezTo>
                    <a:pt x="2576" y="145"/>
                    <a:pt x="2843" y="411"/>
                    <a:pt x="2843" y="738"/>
                  </a:cubicBezTo>
                  <a:cubicBezTo>
                    <a:pt x="2841" y="1066"/>
                    <a:pt x="2576" y="1331"/>
                    <a:pt x="2250" y="1331"/>
                  </a:cubicBezTo>
                  <a:close/>
                  <a:moveTo>
                    <a:pt x="9887" y="4438"/>
                  </a:moveTo>
                  <a:lnTo>
                    <a:pt x="9886" y="4303"/>
                  </a:lnTo>
                  <a:lnTo>
                    <a:pt x="9814" y="4415"/>
                  </a:lnTo>
                  <a:lnTo>
                    <a:pt x="9799" y="4415"/>
                  </a:lnTo>
                  <a:lnTo>
                    <a:pt x="9726" y="4306"/>
                  </a:lnTo>
                  <a:lnTo>
                    <a:pt x="9726" y="4438"/>
                  </a:lnTo>
                  <a:lnTo>
                    <a:pt x="9694" y="4438"/>
                  </a:lnTo>
                  <a:lnTo>
                    <a:pt x="9694" y="4246"/>
                  </a:lnTo>
                  <a:lnTo>
                    <a:pt x="9721" y="4246"/>
                  </a:lnTo>
                  <a:lnTo>
                    <a:pt x="9807" y="4377"/>
                  </a:lnTo>
                  <a:lnTo>
                    <a:pt x="9891" y="4246"/>
                  </a:lnTo>
                  <a:lnTo>
                    <a:pt x="9918" y="4246"/>
                  </a:lnTo>
                  <a:lnTo>
                    <a:pt x="9918" y="4438"/>
                  </a:lnTo>
                  <a:lnTo>
                    <a:pt x="9887" y="4438"/>
                  </a:lnTo>
                  <a:close/>
                  <a:moveTo>
                    <a:pt x="9492" y="4246"/>
                  </a:moveTo>
                  <a:lnTo>
                    <a:pt x="9666" y="4246"/>
                  </a:lnTo>
                  <a:lnTo>
                    <a:pt x="9666" y="4273"/>
                  </a:lnTo>
                  <a:lnTo>
                    <a:pt x="9596" y="4273"/>
                  </a:lnTo>
                  <a:lnTo>
                    <a:pt x="9596" y="4438"/>
                  </a:lnTo>
                  <a:lnTo>
                    <a:pt x="9562" y="4438"/>
                  </a:lnTo>
                  <a:lnTo>
                    <a:pt x="9562" y="4273"/>
                  </a:lnTo>
                  <a:lnTo>
                    <a:pt x="9492" y="4273"/>
                  </a:lnTo>
                  <a:lnTo>
                    <a:pt x="9492" y="4246"/>
                  </a:lnTo>
                  <a:close/>
                  <a:moveTo>
                    <a:pt x="9167" y="4896"/>
                  </a:moveTo>
                  <a:cubicBezTo>
                    <a:pt x="9133" y="4885"/>
                    <a:pt x="9105" y="4871"/>
                    <a:pt x="9086" y="4854"/>
                  </a:cubicBezTo>
                  <a:lnTo>
                    <a:pt x="9114" y="4804"/>
                  </a:lnTo>
                  <a:cubicBezTo>
                    <a:pt x="9134" y="4820"/>
                    <a:pt x="9159" y="4833"/>
                    <a:pt x="9188" y="4842"/>
                  </a:cubicBezTo>
                  <a:cubicBezTo>
                    <a:pt x="9218" y="4852"/>
                    <a:pt x="9249" y="4857"/>
                    <a:pt x="9281" y="4857"/>
                  </a:cubicBezTo>
                  <a:cubicBezTo>
                    <a:pt x="9324" y="4857"/>
                    <a:pt x="9356" y="4850"/>
                    <a:pt x="9377" y="4837"/>
                  </a:cubicBezTo>
                  <a:cubicBezTo>
                    <a:pt x="9397" y="4824"/>
                    <a:pt x="9408" y="4805"/>
                    <a:pt x="9408" y="4780"/>
                  </a:cubicBezTo>
                  <a:cubicBezTo>
                    <a:pt x="9408" y="4763"/>
                    <a:pt x="9402" y="4750"/>
                    <a:pt x="9390" y="4740"/>
                  </a:cubicBezTo>
                  <a:cubicBezTo>
                    <a:pt x="9379" y="4730"/>
                    <a:pt x="9365" y="4723"/>
                    <a:pt x="9348" y="4717"/>
                  </a:cubicBezTo>
                  <a:cubicBezTo>
                    <a:pt x="9330" y="4712"/>
                    <a:pt x="9307" y="4708"/>
                    <a:pt x="9279" y="4703"/>
                  </a:cubicBezTo>
                  <a:cubicBezTo>
                    <a:pt x="9241" y="4696"/>
                    <a:pt x="9210" y="4688"/>
                    <a:pt x="9187" y="4681"/>
                  </a:cubicBezTo>
                  <a:cubicBezTo>
                    <a:pt x="9163" y="4674"/>
                    <a:pt x="9144" y="4661"/>
                    <a:pt x="9127" y="4643"/>
                  </a:cubicBezTo>
                  <a:cubicBezTo>
                    <a:pt x="9111" y="4625"/>
                    <a:pt x="9103" y="4601"/>
                    <a:pt x="9103" y="4569"/>
                  </a:cubicBezTo>
                  <a:cubicBezTo>
                    <a:pt x="9103" y="4530"/>
                    <a:pt x="9119" y="4498"/>
                    <a:pt x="9152" y="4473"/>
                  </a:cubicBezTo>
                  <a:cubicBezTo>
                    <a:pt x="9185" y="4448"/>
                    <a:pt x="9230" y="4435"/>
                    <a:pt x="9289" y="4435"/>
                  </a:cubicBezTo>
                  <a:cubicBezTo>
                    <a:pt x="9319" y="4435"/>
                    <a:pt x="9349" y="4439"/>
                    <a:pt x="9380" y="4447"/>
                  </a:cubicBezTo>
                  <a:cubicBezTo>
                    <a:pt x="9410" y="4455"/>
                    <a:pt x="9435" y="4466"/>
                    <a:pt x="9455" y="4479"/>
                  </a:cubicBezTo>
                  <a:lnTo>
                    <a:pt x="9427" y="4530"/>
                  </a:lnTo>
                  <a:cubicBezTo>
                    <a:pt x="9388" y="4503"/>
                    <a:pt x="9342" y="4490"/>
                    <a:pt x="9289" y="4490"/>
                  </a:cubicBezTo>
                  <a:cubicBezTo>
                    <a:pt x="9248" y="4490"/>
                    <a:pt x="9218" y="4497"/>
                    <a:pt x="9197" y="4511"/>
                  </a:cubicBezTo>
                  <a:cubicBezTo>
                    <a:pt x="9176" y="4525"/>
                    <a:pt x="9166" y="4544"/>
                    <a:pt x="9166" y="4567"/>
                  </a:cubicBezTo>
                  <a:cubicBezTo>
                    <a:pt x="9166" y="4585"/>
                    <a:pt x="9172" y="4599"/>
                    <a:pt x="9184" y="4610"/>
                  </a:cubicBezTo>
                  <a:cubicBezTo>
                    <a:pt x="9195" y="4621"/>
                    <a:pt x="9210" y="4629"/>
                    <a:pt x="9227" y="4634"/>
                  </a:cubicBezTo>
                  <a:cubicBezTo>
                    <a:pt x="9244" y="4639"/>
                    <a:pt x="9268" y="4644"/>
                    <a:pt x="9298" y="4649"/>
                  </a:cubicBezTo>
                  <a:cubicBezTo>
                    <a:pt x="9336" y="4656"/>
                    <a:pt x="9366" y="4664"/>
                    <a:pt x="9389" y="4671"/>
                  </a:cubicBezTo>
                  <a:cubicBezTo>
                    <a:pt x="9411" y="4678"/>
                    <a:pt x="9431" y="4690"/>
                    <a:pt x="9447" y="4707"/>
                  </a:cubicBezTo>
                  <a:cubicBezTo>
                    <a:pt x="9463" y="4724"/>
                    <a:pt x="9471" y="4748"/>
                    <a:pt x="9471" y="4779"/>
                  </a:cubicBezTo>
                  <a:cubicBezTo>
                    <a:pt x="9471" y="4820"/>
                    <a:pt x="9454" y="4852"/>
                    <a:pt x="9420" y="4876"/>
                  </a:cubicBezTo>
                  <a:cubicBezTo>
                    <a:pt x="9385" y="4900"/>
                    <a:pt x="9338" y="4912"/>
                    <a:pt x="9277" y="4912"/>
                  </a:cubicBezTo>
                  <a:cubicBezTo>
                    <a:pt x="9239" y="4912"/>
                    <a:pt x="9202" y="4907"/>
                    <a:pt x="9167" y="4896"/>
                  </a:cubicBezTo>
                  <a:moveTo>
                    <a:pt x="8688" y="4533"/>
                  </a:moveTo>
                  <a:cubicBezTo>
                    <a:pt x="8658" y="4562"/>
                    <a:pt x="8640" y="4599"/>
                    <a:pt x="8636" y="4646"/>
                  </a:cubicBezTo>
                  <a:lnTo>
                    <a:pt x="8969" y="4646"/>
                  </a:lnTo>
                  <a:cubicBezTo>
                    <a:pt x="8965" y="4599"/>
                    <a:pt x="8948" y="4562"/>
                    <a:pt x="8917" y="4533"/>
                  </a:cubicBezTo>
                  <a:cubicBezTo>
                    <a:pt x="8886" y="4504"/>
                    <a:pt x="8848" y="4490"/>
                    <a:pt x="8802" y="4490"/>
                  </a:cubicBezTo>
                  <a:cubicBezTo>
                    <a:pt x="8757" y="4490"/>
                    <a:pt x="8719" y="4504"/>
                    <a:pt x="8688" y="4533"/>
                  </a:cubicBezTo>
                  <a:close/>
                  <a:moveTo>
                    <a:pt x="9029" y="4693"/>
                  </a:moveTo>
                  <a:lnTo>
                    <a:pt x="8636" y="4693"/>
                  </a:lnTo>
                  <a:cubicBezTo>
                    <a:pt x="8640" y="4742"/>
                    <a:pt x="8658" y="4781"/>
                    <a:pt x="8692" y="4811"/>
                  </a:cubicBezTo>
                  <a:cubicBezTo>
                    <a:pt x="8726" y="4841"/>
                    <a:pt x="8769" y="4856"/>
                    <a:pt x="8821" y="4856"/>
                  </a:cubicBezTo>
                  <a:cubicBezTo>
                    <a:pt x="8850" y="4856"/>
                    <a:pt x="8877" y="4851"/>
                    <a:pt x="8901" y="4841"/>
                  </a:cubicBezTo>
                  <a:cubicBezTo>
                    <a:pt x="8926" y="4830"/>
                    <a:pt x="8947" y="4815"/>
                    <a:pt x="8965" y="4795"/>
                  </a:cubicBezTo>
                  <a:lnTo>
                    <a:pt x="9001" y="4836"/>
                  </a:lnTo>
                  <a:cubicBezTo>
                    <a:pt x="8980" y="4861"/>
                    <a:pt x="8954" y="4880"/>
                    <a:pt x="8922" y="4893"/>
                  </a:cubicBezTo>
                  <a:cubicBezTo>
                    <a:pt x="8891" y="4906"/>
                    <a:pt x="8857" y="4912"/>
                    <a:pt x="8819" y="4912"/>
                  </a:cubicBezTo>
                  <a:cubicBezTo>
                    <a:pt x="8771" y="4912"/>
                    <a:pt x="8728" y="4902"/>
                    <a:pt x="8691" y="4882"/>
                  </a:cubicBezTo>
                  <a:cubicBezTo>
                    <a:pt x="8654" y="4861"/>
                    <a:pt x="8625" y="4833"/>
                    <a:pt x="8604" y="4796"/>
                  </a:cubicBezTo>
                  <a:cubicBezTo>
                    <a:pt x="8583" y="4760"/>
                    <a:pt x="8572" y="4719"/>
                    <a:pt x="8572" y="4673"/>
                  </a:cubicBezTo>
                  <a:cubicBezTo>
                    <a:pt x="8572" y="4628"/>
                    <a:pt x="8582" y="4587"/>
                    <a:pt x="8602" y="4550"/>
                  </a:cubicBezTo>
                  <a:cubicBezTo>
                    <a:pt x="8622" y="4514"/>
                    <a:pt x="8650" y="4486"/>
                    <a:pt x="8685" y="4466"/>
                  </a:cubicBezTo>
                  <a:cubicBezTo>
                    <a:pt x="8720" y="4445"/>
                    <a:pt x="8759" y="4435"/>
                    <a:pt x="8802" y="4435"/>
                  </a:cubicBezTo>
                  <a:cubicBezTo>
                    <a:pt x="8846" y="4435"/>
                    <a:pt x="8885" y="4445"/>
                    <a:pt x="8919" y="4466"/>
                  </a:cubicBezTo>
                  <a:cubicBezTo>
                    <a:pt x="8954" y="4486"/>
                    <a:pt x="8981" y="4514"/>
                    <a:pt x="9001" y="4550"/>
                  </a:cubicBezTo>
                  <a:cubicBezTo>
                    <a:pt x="9020" y="4586"/>
                    <a:pt x="9030" y="4627"/>
                    <a:pt x="9030" y="4673"/>
                  </a:cubicBezTo>
                  <a:lnTo>
                    <a:pt x="9029" y="4693"/>
                  </a:lnTo>
                  <a:close/>
                  <a:moveTo>
                    <a:pt x="8388" y="4439"/>
                  </a:moveTo>
                  <a:lnTo>
                    <a:pt x="8452" y="4439"/>
                  </a:lnTo>
                  <a:lnTo>
                    <a:pt x="8452" y="4908"/>
                  </a:lnTo>
                  <a:lnTo>
                    <a:pt x="8388" y="4908"/>
                  </a:lnTo>
                  <a:lnTo>
                    <a:pt x="8388" y="4439"/>
                  </a:lnTo>
                  <a:close/>
                  <a:moveTo>
                    <a:pt x="8387" y="4323"/>
                  </a:moveTo>
                  <a:cubicBezTo>
                    <a:pt x="8378" y="4314"/>
                    <a:pt x="8374" y="4303"/>
                    <a:pt x="8374" y="4291"/>
                  </a:cubicBezTo>
                  <a:cubicBezTo>
                    <a:pt x="8374" y="4279"/>
                    <a:pt x="8378" y="4268"/>
                    <a:pt x="8387" y="4260"/>
                  </a:cubicBezTo>
                  <a:cubicBezTo>
                    <a:pt x="8396" y="4251"/>
                    <a:pt x="8407" y="4246"/>
                    <a:pt x="8420" y="4246"/>
                  </a:cubicBezTo>
                  <a:cubicBezTo>
                    <a:pt x="8434" y="4246"/>
                    <a:pt x="8445" y="4250"/>
                    <a:pt x="8454" y="4259"/>
                  </a:cubicBezTo>
                  <a:cubicBezTo>
                    <a:pt x="8462" y="4268"/>
                    <a:pt x="8467" y="4278"/>
                    <a:pt x="8467" y="4290"/>
                  </a:cubicBezTo>
                  <a:cubicBezTo>
                    <a:pt x="8467" y="4303"/>
                    <a:pt x="8462" y="4314"/>
                    <a:pt x="8454" y="4323"/>
                  </a:cubicBezTo>
                  <a:cubicBezTo>
                    <a:pt x="8445" y="4332"/>
                    <a:pt x="8434" y="4336"/>
                    <a:pt x="8420" y="4336"/>
                  </a:cubicBezTo>
                  <a:cubicBezTo>
                    <a:pt x="8407" y="4336"/>
                    <a:pt x="8396" y="4332"/>
                    <a:pt x="8387" y="4323"/>
                  </a:cubicBezTo>
                  <a:close/>
                  <a:moveTo>
                    <a:pt x="8282" y="4879"/>
                  </a:moveTo>
                  <a:cubicBezTo>
                    <a:pt x="8270" y="4890"/>
                    <a:pt x="8255" y="4898"/>
                    <a:pt x="8238" y="4904"/>
                  </a:cubicBezTo>
                  <a:cubicBezTo>
                    <a:pt x="8220" y="4910"/>
                    <a:pt x="8202" y="4912"/>
                    <a:pt x="8183" y="4912"/>
                  </a:cubicBezTo>
                  <a:cubicBezTo>
                    <a:pt x="8139" y="4912"/>
                    <a:pt x="8105" y="4900"/>
                    <a:pt x="8081" y="4877"/>
                  </a:cubicBezTo>
                  <a:cubicBezTo>
                    <a:pt x="8057" y="4853"/>
                    <a:pt x="8045" y="4819"/>
                    <a:pt x="8045" y="4776"/>
                  </a:cubicBezTo>
                  <a:lnTo>
                    <a:pt x="8045" y="4492"/>
                  </a:lnTo>
                  <a:lnTo>
                    <a:pt x="7961" y="4492"/>
                  </a:lnTo>
                  <a:lnTo>
                    <a:pt x="7961" y="4439"/>
                  </a:lnTo>
                  <a:lnTo>
                    <a:pt x="8045" y="4439"/>
                  </a:lnTo>
                  <a:lnTo>
                    <a:pt x="8045" y="4336"/>
                  </a:lnTo>
                  <a:lnTo>
                    <a:pt x="8108" y="4336"/>
                  </a:lnTo>
                  <a:lnTo>
                    <a:pt x="8108" y="4439"/>
                  </a:lnTo>
                  <a:lnTo>
                    <a:pt x="8251" y="4439"/>
                  </a:lnTo>
                  <a:lnTo>
                    <a:pt x="8251" y="4492"/>
                  </a:lnTo>
                  <a:lnTo>
                    <a:pt x="8108" y="4492"/>
                  </a:lnTo>
                  <a:lnTo>
                    <a:pt x="8108" y="4772"/>
                  </a:lnTo>
                  <a:cubicBezTo>
                    <a:pt x="8108" y="4800"/>
                    <a:pt x="8115" y="4822"/>
                    <a:pt x="8129" y="4836"/>
                  </a:cubicBezTo>
                  <a:cubicBezTo>
                    <a:pt x="8143" y="4851"/>
                    <a:pt x="8164" y="4858"/>
                    <a:pt x="8190" y="4858"/>
                  </a:cubicBezTo>
                  <a:cubicBezTo>
                    <a:pt x="8203" y="4858"/>
                    <a:pt x="8216" y="4856"/>
                    <a:pt x="8228" y="4852"/>
                  </a:cubicBezTo>
                  <a:cubicBezTo>
                    <a:pt x="8240" y="4848"/>
                    <a:pt x="8251" y="4842"/>
                    <a:pt x="8260" y="4834"/>
                  </a:cubicBezTo>
                  <a:lnTo>
                    <a:pt x="8282" y="4879"/>
                  </a:lnTo>
                  <a:close/>
                  <a:moveTo>
                    <a:pt x="7803" y="4439"/>
                  </a:moveTo>
                  <a:lnTo>
                    <a:pt x="7866" y="4439"/>
                  </a:lnTo>
                  <a:lnTo>
                    <a:pt x="7866" y="4908"/>
                  </a:lnTo>
                  <a:lnTo>
                    <a:pt x="7803" y="4908"/>
                  </a:lnTo>
                  <a:lnTo>
                    <a:pt x="7803" y="4439"/>
                  </a:lnTo>
                  <a:close/>
                  <a:moveTo>
                    <a:pt x="7802" y="4323"/>
                  </a:moveTo>
                  <a:cubicBezTo>
                    <a:pt x="7793" y="4314"/>
                    <a:pt x="7788" y="4303"/>
                    <a:pt x="7788" y="4291"/>
                  </a:cubicBezTo>
                  <a:cubicBezTo>
                    <a:pt x="7788" y="4279"/>
                    <a:pt x="7793" y="4268"/>
                    <a:pt x="7802" y="4260"/>
                  </a:cubicBezTo>
                  <a:cubicBezTo>
                    <a:pt x="7811" y="4251"/>
                    <a:pt x="7822" y="4246"/>
                    <a:pt x="7835" y="4246"/>
                  </a:cubicBezTo>
                  <a:cubicBezTo>
                    <a:pt x="7848" y="4246"/>
                    <a:pt x="7859" y="4250"/>
                    <a:pt x="7868" y="4259"/>
                  </a:cubicBezTo>
                  <a:cubicBezTo>
                    <a:pt x="7877" y="4268"/>
                    <a:pt x="7881" y="4278"/>
                    <a:pt x="7881" y="4290"/>
                  </a:cubicBezTo>
                  <a:cubicBezTo>
                    <a:pt x="7881" y="4303"/>
                    <a:pt x="7877" y="4314"/>
                    <a:pt x="7868" y="4323"/>
                  </a:cubicBezTo>
                  <a:cubicBezTo>
                    <a:pt x="7859" y="4332"/>
                    <a:pt x="7848" y="4336"/>
                    <a:pt x="7835" y="4336"/>
                  </a:cubicBezTo>
                  <a:cubicBezTo>
                    <a:pt x="7822" y="4336"/>
                    <a:pt x="7811" y="4332"/>
                    <a:pt x="7802" y="4323"/>
                  </a:cubicBezTo>
                  <a:close/>
                  <a:moveTo>
                    <a:pt x="7571" y="4246"/>
                  </a:moveTo>
                  <a:lnTo>
                    <a:pt x="7635" y="4246"/>
                  </a:lnTo>
                  <a:lnTo>
                    <a:pt x="7635" y="4908"/>
                  </a:lnTo>
                  <a:lnTo>
                    <a:pt x="7571" y="4908"/>
                  </a:lnTo>
                  <a:lnTo>
                    <a:pt x="7571" y="4246"/>
                  </a:lnTo>
                  <a:close/>
                  <a:moveTo>
                    <a:pt x="7340" y="4439"/>
                  </a:moveTo>
                  <a:lnTo>
                    <a:pt x="7403" y="4439"/>
                  </a:lnTo>
                  <a:lnTo>
                    <a:pt x="7403" y="4908"/>
                  </a:lnTo>
                  <a:lnTo>
                    <a:pt x="7340" y="4908"/>
                  </a:lnTo>
                  <a:lnTo>
                    <a:pt x="7340" y="4439"/>
                  </a:lnTo>
                  <a:close/>
                  <a:moveTo>
                    <a:pt x="7339" y="4323"/>
                  </a:moveTo>
                  <a:cubicBezTo>
                    <a:pt x="7330" y="4314"/>
                    <a:pt x="7325" y="4303"/>
                    <a:pt x="7325" y="4291"/>
                  </a:cubicBezTo>
                  <a:cubicBezTo>
                    <a:pt x="7325" y="4279"/>
                    <a:pt x="7330" y="4268"/>
                    <a:pt x="7339" y="4260"/>
                  </a:cubicBezTo>
                  <a:cubicBezTo>
                    <a:pt x="7348" y="4251"/>
                    <a:pt x="7359" y="4246"/>
                    <a:pt x="7372" y="4246"/>
                  </a:cubicBezTo>
                  <a:cubicBezTo>
                    <a:pt x="7385" y="4246"/>
                    <a:pt x="7396" y="4250"/>
                    <a:pt x="7405" y="4259"/>
                  </a:cubicBezTo>
                  <a:cubicBezTo>
                    <a:pt x="7414" y="4268"/>
                    <a:pt x="7418" y="4278"/>
                    <a:pt x="7418" y="4290"/>
                  </a:cubicBezTo>
                  <a:cubicBezTo>
                    <a:pt x="7418" y="4303"/>
                    <a:pt x="7414" y="4314"/>
                    <a:pt x="7405" y="4323"/>
                  </a:cubicBezTo>
                  <a:cubicBezTo>
                    <a:pt x="7396" y="4332"/>
                    <a:pt x="7385" y="4336"/>
                    <a:pt x="7372" y="4336"/>
                  </a:cubicBezTo>
                  <a:cubicBezTo>
                    <a:pt x="7359" y="4336"/>
                    <a:pt x="7348" y="4332"/>
                    <a:pt x="7339" y="4323"/>
                  </a:cubicBezTo>
                  <a:close/>
                  <a:moveTo>
                    <a:pt x="7070" y="4833"/>
                  </a:moveTo>
                  <a:cubicBezTo>
                    <a:pt x="7096" y="4818"/>
                    <a:pt x="7117" y="4797"/>
                    <a:pt x="7133" y="4769"/>
                  </a:cubicBezTo>
                  <a:cubicBezTo>
                    <a:pt x="7148" y="4741"/>
                    <a:pt x="7155" y="4709"/>
                    <a:pt x="7155" y="4673"/>
                  </a:cubicBezTo>
                  <a:cubicBezTo>
                    <a:pt x="7155" y="4638"/>
                    <a:pt x="7148" y="4606"/>
                    <a:pt x="7133" y="4578"/>
                  </a:cubicBezTo>
                  <a:cubicBezTo>
                    <a:pt x="7117" y="4550"/>
                    <a:pt x="7096" y="4528"/>
                    <a:pt x="7070" y="4513"/>
                  </a:cubicBezTo>
                  <a:cubicBezTo>
                    <a:pt x="7043" y="4498"/>
                    <a:pt x="7013" y="4491"/>
                    <a:pt x="6980" y="4491"/>
                  </a:cubicBezTo>
                  <a:cubicBezTo>
                    <a:pt x="6947" y="4491"/>
                    <a:pt x="6917" y="4498"/>
                    <a:pt x="6890" y="4513"/>
                  </a:cubicBezTo>
                  <a:cubicBezTo>
                    <a:pt x="6864" y="4528"/>
                    <a:pt x="6843" y="4550"/>
                    <a:pt x="6828" y="4578"/>
                  </a:cubicBezTo>
                  <a:cubicBezTo>
                    <a:pt x="6813" y="4606"/>
                    <a:pt x="6805" y="4638"/>
                    <a:pt x="6805" y="4673"/>
                  </a:cubicBezTo>
                  <a:cubicBezTo>
                    <a:pt x="6805" y="4709"/>
                    <a:pt x="6813" y="4741"/>
                    <a:pt x="6828" y="4769"/>
                  </a:cubicBezTo>
                  <a:cubicBezTo>
                    <a:pt x="6843" y="4797"/>
                    <a:pt x="6864" y="4818"/>
                    <a:pt x="6890" y="4833"/>
                  </a:cubicBezTo>
                  <a:cubicBezTo>
                    <a:pt x="6917" y="4849"/>
                    <a:pt x="6947" y="4856"/>
                    <a:pt x="6980" y="4856"/>
                  </a:cubicBezTo>
                  <a:cubicBezTo>
                    <a:pt x="7013" y="4856"/>
                    <a:pt x="7043" y="4849"/>
                    <a:pt x="7070" y="4833"/>
                  </a:cubicBezTo>
                  <a:close/>
                  <a:moveTo>
                    <a:pt x="7104" y="4465"/>
                  </a:moveTo>
                  <a:cubicBezTo>
                    <a:pt x="7140" y="4485"/>
                    <a:pt x="7168" y="4513"/>
                    <a:pt x="7188" y="4549"/>
                  </a:cubicBezTo>
                  <a:cubicBezTo>
                    <a:pt x="7209" y="4586"/>
                    <a:pt x="7219" y="4627"/>
                    <a:pt x="7219" y="4673"/>
                  </a:cubicBezTo>
                  <a:cubicBezTo>
                    <a:pt x="7219" y="4720"/>
                    <a:pt x="7209" y="4761"/>
                    <a:pt x="7188" y="4797"/>
                  </a:cubicBezTo>
                  <a:cubicBezTo>
                    <a:pt x="7168" y="4834"/>
                    <a:pt x="7140" y="4862"/>
                    <a:pt x="7104" y="4882"/>
                  </a:cubicBezTo>
                  <a:cubicBezTo>
                    <a:pt x="7069" y="4902"/>
                    <a:pt x="7029" y="4912"/>
                    <a:pt x="6985" y="4912"/>
                  </a:cubicBezTo>
                  <a:cubicBezTo>
                    <a:pt x="6945" y="4912"/>
                    <a:pt x="6910" y="4904"/>
                    <a:pt x="6879" y="4887"/>
                  </a:cubicBezTo>
                  <a:cubicBezTo>
                    <a:pt x="6847" y="4871"/>
                    <a:pt x="6822" y="4847"/>
                    <a:pt x="6803" y="4815"/>
                  </a:cubicBezTo>
                  <a:lnTo>
                    <a:pt x="6803" y="4908"/>
                  </a:lnTo>
                  <a:lnTo>
                    <a:pt x="6742" y="4908"/>
                  </a:lnTo>
                  <a:lnTo>
                    <a:pt x="6742" y="4246"/>
                  </a:lnTo>
                  <a:lnTo>
                    <a:pt x="6806" y="4246"/>
                  </a:lnTo>
                  <a:lnTo>
                    <a:pt x="6806" y="4528"/>
                  </a:lnTo>
                  <a:cubicBezTo>
                    <a:pt x="6825" y="4498"/>
                    <a:pt x="6851" y="4475"/>
                    <a:pt x="6881" y="4459"/>
                  </a:cubicBezTo>
                  <a:cubicBezTo>
                    <a:pt x="6912" y="4443"/>
                    <a:pt x="6946" y="4435"/>
                    <a:pt x="6985" y="4435"/>
                  </a:cubicBezTo>
                  <a:cubicBezTo>
                    <a:pt x="7029" y="4435"/>
                    <a:pt x="7069" y="4445"/>
                    <a:pt x="7104" y="4465"/>
                  </a:cubicBezTo>
                  <a:close/>
                  <a:moveTo>
                    <a:pt x="6511" y="4439"/>
                  </a:moveTo>
                  <a:lnTo>
                    <a:pt x="6574" y="4439"/>
                  </a:lnTo>
                  <a:lnTo>
                    <a:pt x="6574" y="4908"/>
                  </a:lnTo>
                  <a:lnTo>
                    <a:pt x="6511" y="4908"/>
                  </a:lnTo>
                  <a:lnTo>
                    <a:pt x="6511" y="4439"/>
                  </a:lnTo>
                  <a:close/>
                  <a:moveTo>
                    <a:pt x="6510" y="4323"/>
                  </a:moveTo>
                  <a:cubicBezTo>
                    <a:pt x="6501" y="4314"/>
                    <a:pt x="6496" y="4303"/>
                    <a:pt x="6496" y="4291"/>
                  </a:cubicBezTo>
                  <a:cubicBezTo>
                    <a:pt x="6496" y="4279"/>
                    <a:pt x="6501" y="4268"/>
                    <a:pt x="6510" y="4260"/>
                  </a:cubicBezTo>
                  <a:cubicBezTo>
                    <a:pt x="6519" y="4251"/>
                    <a:pt x="6530" y="4246"/>
                    <a:pt x="6543" y="4246"/>
                  </a:cubicBezTo>
                  <a:cubicBezTo>
                    <a:pt x="6556" y="4246"/>
                    <a:pt x="6567" y="4250"/>
                    <a:pt x="6576" y="4259"/>
                  </a:cubicBezTo>
                  <a:cubicBezTo>
                    <a:pt x="6585" y="4268"/>
                    <a:pt x="6589" y="4278"/>
                    <a:pt x="6589" y="4290"/>
                  </a:cubicBezTo>
                  <a:cubicBezTo>
                    <a:pt x="6589" y="4303"/>
                    <a:pt x="6585" y="4314"/>
                    <a:pt x="6576" y="4323"/>
                  </a:cubicBezTo>
                  <a:cubicBezTo>
                    <a:pt x="6567" y="4332"/>
                    <a:pt x="6556" y="4336"/>
                    <a:pt x="6543" y="4336"/>
                  </a:cubicBezTo>
                  <a:cubicBezTo>
                    <a:pt x="6530" y="4336"/>
                    <a:pt x="6519" y="4332"/>
                    <a:pt x="6510" y="4323"/>
                  </a:cubicBezTo>
                  <a:close/>
                  <a:moveTo>
                    <a:pt x="6099" y="4896"/>
                  </a:moveTo>
                  <a:cubicBezTo>
                    <a:pt x="6064" y="4885"/>
                    <a:pt x="6037" y="4871"/>
                    <a:pt x="6017" y="4854"/>
                  </a:cubicBezTo>
                  <a:lnTo>
                    <a:pt x="6046" y="4804"/>
                  </a:lnTo>
                  <a:cubicBezTo>
                    <a:pt x="6066" y="4820"/>
                    <a:pt x="6090" y="4833"/>
                    <a:pt x="6120" y="4842"/>
                  </a:cubicBezTo>
                  <a:cubicBezTo>
                    <a:pt x="6150" y="4852"/>
                    <a:pt x="6181" y="4857"/>
                    <a:pt x="6213" y="4857"/>
                  </a:cubicBezTo>
                  <a:cubicBezTo>
                    <a:pt x="6256" y="4857"/>
                    <a:pt x="6288" y="4850"/>
                    <a:pt x="6308" y="4837"/>
                  </a:cubicBezTo>
                  <a:cubicBezTo>
                    <a:pt x="6329" y="4824"/>
                    <a:pt x="6339" y="4805"/>
                    <a:pt x="6339" y="4780"/>
                  </a:cubicBezTo>
                  <a:cubicBezTo>
                    <a:pt x="6339" y="4763"/>
                    <a:pt x="6333" y="4750"/>
                    <a:pt x="6322" y="4740"/>
                  </a:cubicBezTo>
                  <a:cubicBezTo>
                    <a:pt x="6311" y="4730"/>
                    <a:pt x="6296" y="4723"/>
                    <a:pt x="6279" y="4717"/>
                  </a:cubicBezTo>
                  <a:cubicBezTo>
                    <a:pt x="6262" y="4712"/>
                    <a:pt x="6239" y="4708"/>
                    <a:pt x="6210" y="4703"/>
                  </a:cubicBezTo>
                  <a:cubicBezTo>
                    <a:pt x="6172" y="4696"/>
                    <a:pt x="6141" y="4688"/>
                    <a:pt x="6118" y="4681"/>
                  </a:cubicBezTo>
                  <a:cubicBezTo>
                    <a:pt x="6095" y="4674"/>
                    <a:pt x="6075" y="4661"/>
                    <a:pt x="6059" y="4643"/>
                  </a:cubicBezTo>
                  <a:cubicBezTo>
                    <a:pt x="6042" y="4625"/>
                    <a:pt x="6034" y="4601"/>
                    <a:pt x="6034" y="4569"/>
                  </a:cubicBezTo>
                  <a:cubicBezTo>
                    <a:pt x="6034" y="4530"/>
                    <a:pt x="6051" y="4498"/>
                    <a:pt x="6083" y="4473"/>
                  </a:cubicBezTo>
                  <a:cubicBezTo>
                    <a:pt x="6116" y="4448"/>
                    <a:pt x="6162" y="4435"/>
                    <a:pt x="6220" y="4435"/>
                  </a:cubicBezTo>
                  <a:cubicBezTo>
                    <a:pt x="6251" y="4435"/>
                    <a:pt x="6281" y="4439"/>
                    <a:pt x="6311" y="4447"/>
                  </a:cubicBezTo>
                  <a:cubicBezTo>
                    <a:pt x="6342" y="4455"/>
                    <a:pt x="6367" y="4466"/>
                    <a:pt x="6386" y="4479"/>
                  </a:cubicBezTo>
                  <a:lnTo>
                    <a:pt x="6359" y="4530"/>
                  </a:lnTo>
                  <a:cubicBezTo>
                    <a:pt x="6320" y="4503"/>
                    <a:pt x="6274" y="4490"/>
                    <a:pt x="6220" y="4490"/>
                  </a:cubicBezTo>
                  <a:cubicBezTo>
                    <a:pt x="6180" y="4490"/>
                    <a:pt x="6149" y="4497"/>
                    <a:pt x="6129" y="4511"/>
                  </a:cubicBezTo>
                  <a:cubicBezTo>
                    <a:pt x="6108" y="4525"/>
                    <a:pt x="6098" y="4544"/>
                    <a:pt x="6098" y="4567"/>
                  </a:cubicBezTo>
                  <a:cubicBezTo>
                    <a:pt x="6098" y="4585"/>
                    <a:pt x="6104" y="4599"/>
                    <a:pt x="6115" y="4610"/>
                  </a:cubicBezTo>
                  <a:cubicBezTo>
                    <a:pt x="6127" y="4621"/>
                    <a:pt x="6141" y="4629"/>
                    <a:pt x="6158" y="4634"/>
                  </a:cubicBezTo>
                  <a:cubicBezTo>
                    <a:pt x="6176" y="4639"/>
                    <a:pt x="6200" y="4644"/>
                    <a:pt x="6230" y="4649"/>
                  </a:cubicBezTo>
                  <a:cubicBezTo>
                    <a:pt x="6268" y="4656"/>
                    <a:pt x="6298" y="4664"/>
                    <a:pt x="6320" y="4671"/>
                  </a:cubicBezTo>
                  <a:cubicBezTo>
                    <a:pt x="6343" y="4678"/>
                    <a:pt x="6362" y="4690"/>
                    <a:pt x="6378" y="4707"/>
                  </a:cubicBezTo>
                  <a:cubicBezTo>
                    <a:pt x="6395" y="4724"/>
                    <a:pt x="6403" y="4748"/>
                    <a:pt x="6403" y="4779"/>
                  </a:cubicBezTo>
                  <a:cubicBezTo>
                    <a:pt x="6403" y="4820"/>
                    <a:pt x="6385" y="4852"/>
                    <a:pt x="6351" y="4876"/>
                  </a:cubicBezTo>
                  <a:cubicBezTo>
                    <a:pt x="6317" y="4900"/>
                    <a:pt x="6269" y="4912"/>
                    <a:pt x="6209" y="4912"/>
                  </a:cubicBezTo>
                  <a:cubicBezTo>
                    <a:pt x="6170" y="4912"/>
                    <a:pt x="6134" y="4907"/>
                    <a:pt x="6099" y="4896"/>
                  </a:cubicBezTo>
                  <a:moveTo>
                    <a:pt x="5653" y="4896"/>
                  </a:moveTo>
                  <a:cubicBezTo>
                    <a:pt x="5618" y="4885"/>
                    <a:pt x="5591" y="4871"/>
                    <a:pt x="5571" y="4854"/>
                  </a:cubicBezTo>
                  <a:lnTo>
                    <a:pt x="5600" y="4804"/>
                  </a:lnTo>
                  <a:cubicBezTo>
                    <a:pt x="5619" y="4820"/>
                    <a:pt x="5644" y="4833"/>
                    <a:pt x="5674" y="4842"/>
                  </a:cubicBezTo>
                  <a:cubicBezTo>
                    <a:pt x="5704" y="4852"/>
                    <a:pt x="5735" y="4857"/>
                    <a:pt x="5767" y="4857"/>
                  </a:cubicBezTo>
                  <a:cubicBezTo>
                    <a:pt x="5810" y="4857"/>
                    <a:pt x="5842" y="4850"/>
                    <a:pt x="5862" y="4837"/>
                  </a:cubicBezTo>
                  <a:cubicBezTo>
                    <a:pt x="5883" y="4824"/>
                    <a:pt x="5893" y="4805"/>
                    <a:pt x="5893" y="4780"/>
                  </a:cubicBezTo>
                  <a:cubicBezTo>
                    <a:pt x="5893" y="4763"/>
                    <a:pt x="5887" y="4750"/>
                    <a:pt x="5876" y="4740"/>
                  </a:cubicBezTo>
                  <a:cubicBezTo>
                    <a:pt x="5865" y="4730"/>
                    <a:pt x="5850" y="4723"/>
                    <a:pt x="5833" y="4717"/>
                  </a:cubicBezTo>
                  <a:cubicBezTo>
                    <a:pt x="5816" y="4712"/>
                    <a:pt x="5793" y="4708"/>
                    <a:pt x="5764" y="4703"/>
                  </a:cubicBezTo>
                  <a:cubicBezTo>
                    <a:pt x="5726" y="4696"/>
                    <a:pt x="5695" y="4688"/>
                    <a:pt x="5672" y="4681"/>
                  </a:cubicBezTo>
                  <a:cubicBezTo>
                    <a:pt x="5649" y="4674"/>
                    <a:pt x="5629" y="4661"/>
                    <a:pt x="5613" y="4643"/>
                  </a:cubicBezTo>
                  <a:cubicBezTo>
                    <a:pt x="5596" y="4625"/>
                    <a:pt x="5588" y="4601"/>
                    <a:pt x="5588" y="4569"/>
                  </a:cubicBezTo>
                  <a:cubicBezTo>
                    <a:pt x="5588" y="4530"/>
                    <a:pt x="5604" y="4498"/>
                    <a:pt x="5637" y="4473"/>
                  </a:cubicBezTo>
                  <a:cubicBezTo>
                    <a:pt x="5670" y="4448"/>
                    <a:pt x="5716" y="4435"/>
                    <a:pt x="5774" y="4435"/>
                  </a:cubicBezTo>
                  <a:cubicBezTo>
                    <a:pt x="5804" y="4435"/>
                    <a:pt x="5835" y="4439"/>
                    <a:pt x="5865" y="4447"/>
                  </a:cubicBezTo>
                  <a:cubicBezTo>
                    <a:pt x="5896" y="4455"/>
                    <a:pt x="5921" y="4466"/>
                    <a:pt x="5940" y="4479"/>
                  </a:cubicBezTo>
                  <a:lnTo>
                    <a:pt x="5913" y="4530"/>
                  </a:lnTo>
                  <a:cubicBezTo>
                    <a:pt x="5874" y="4503"/>
                    <a:pt x="5828" y="4490"/>
                    <a:pt x="5774" y="4490"/>
                  </a:cubicBezTo>
                  <a:cubicBezTo>
                    <a:pt x="5734" y="4490"/>
                    <a:pt x="5703" y="4497"/>
                    <a:pt x="5682" y="4511"/>
                  </a:cubicBezTo>
                  <a:cubicBezTo>
                    <a:pt x="5662" y="4525"/>
                    <a:pt x="5652" y="4544"/>
                    <a:pt x="5652" y="4567"/>
                  </a:cubicBezTo>
                  <a:cubicBezTo>
                    <a:pt x="5652" y="4585"/>
                    <a:pt x="5657" y="4599"/>
                    <a:pt x="5669" y="4610"/>
                  </a:cubicBezTo>
                  <a:cubicBezTo>
                    <a:pt x="5681" y="4621"/>
                    <a:pt x="5695" y="4629"/>
                    <a:pt x="5712" y="4634"/>
                  </a:cubicBezTo>
                  <a:cubicBezTo>
                    <a:pt x="5730" y="4639"/>
                    <a:pt x="5754" y="4644"/>
                    <a:pt x="5784" y="4649"/>
                  </a:cubicBezTo>
                  <a:cubicBezTo>
                    <a:pt x="5821" y="4656"/>
                    <a:pt x="5852" y="4664"/>
                    <a:pt x="5874" y="4671"/>
                  </a:cubicBezTo>
                  <a:cubicBezTo>
                    <a:pt x="5897" y="4678"/>
                    <a:pt x="5916" y="4690"/>
                    <a:pt x="5932" y="4707"/>
                  </a:cubicBezTo>
                  <a:cubicBezTo>
                    <a:pt x="5948" y="4724"/>
                    <a:pt x="5956" y="4748"/>
                    <a:pt x="5956" y="4779"/>
                  </a:cubicBezTo>
                  <a:cubicBezTo>
                    <a:pt x="5956" y="4820"/>
                    <a:pt x="5939" y="4852"/>
                    <a:pt x="5905" y="4876"/>
                  </a:cubicBezTo>
                  <a:cubicBezTo>
                    <a:pt x="5871" y="4900"/>
                    <a:pt x="5823" y="4912"/>
                    <a:pt x="5762" y="4912"/>
                  </a:cubicBezTo>
                  <a:cubicBezTo>
                    <a:pt x="5724" y="4912"/>
                    <a:pt x="5688" y="4907"/>
                    <a:pt x="5653" y="4896"/>
                  </a:cubicBezTo>
                  <a:moveTo>
                    <a:pt x="5367" y="4833"/>
                  </a:moveTo>
                  <a:cubicBezTo>
                    <a:pt x="5393" y="4818"/>
                    <a:pt x="5414" y="4797"/>
                    <a:pt x="5429" y="4769"/>
                  </a:cubicBezTo>
                  <a:cubicBezTo>
                    <a:pt x="5444" y="4741"/>
                    <a:pt x="5451" y="4709"/>
                    <a:pt x="5451" y="4673"/>
                  </a:cubicBezTo>
                  <a:cubicBezTo>
                    <a:pt x="5451" y="4638"/>
                    <a:pt x="5444" y="4606"/>
                    <a:pt x="5429" y="4578"/>
                  </a:cubicBezTo>
                  <a:cubicBezTo>
                    <a:pt x="5414" y="4550"/>
                    <a:pt x="5393" y="4528"/>
                    <a:pt x="5367" y="4513"/>
                  </a:cubicBezTo>
                  <a:cubicBezTo>
                    <a:pt x="5340" y="4498"/>
                    <a:pt x="5310" y="4491"/>
                    <a:pt x="5277" y="4491"/>
                  </a:cubicBezTo>
                  <a:cubicBezTo>
                    <a:pt x="5244" y="4491"/>
                    <a:pt x="5214" y="4498"/>
                    <a:pt x="5187" y="4513"/>
                  </a:cubicBezTo>
                  <a:cubicBezTo>
                    <a:pt x="5161" y="4528"/>
                    <a:pt x="5140" y="4550"/>
                    <a:pt x="5124" y="4578"/>
                  </a:cubicBezTo>
                  <a:cubicBezTo>
                    <a:pt x="5109" y="4606"/>
                    <a:pt x="5102" y="4638"/>
                    <a:pt x="5102" y="4673"/>
                  </a:cubicBezTo>
                  <a:cubicBezTo>
                    <a:pt x="5102" y="4709"/>
                    <a:pt x="5109" y="4741"/>
                    <a:pt x="5124" y="4769"/>
                  </a:cubicBezTo>
                  <a:cubicBezTo>
                    <a:pt x="5140" y="4797"/>
                    <a:pt x="5161" y="4818"/>
                    <a:pt x="5187" y="4833"/>
                  </a:cubicBezTo>
                  <a:cubicBezTo>
                    <a:pt x="5214" y="4849"/>
                    <a:pt x="5244" y="4856"/>
                    <a:pt x="5277" y="4856"/>
                  </a:cubicBezTo>
                  <a:cubicBezTo>
                    <a:pt x="5310" y="4856"/>
                    <a:pt x="5340" y="4849"/>
                    <a:pt x="5367" y="4833"/>
                  </a:cubicBezTo>
                  <a:close/>
                  <a:moveTo>
                    <a:pt x="5154" y="4882"/>
                  </a:moveTo>
                  <a:cubicBezTo>
                    <a:pt x="5118" y="4861"/>
                    <a:pt x="5089" y="4833"/>
                    <a:pt x="5069" y="4796"/>
                  </a:cubicBezTo>
                  <a:cubicBezTo>
                    <a:pt x="5048" y="4760"/>
                    <a:pt x="5037" y="4719"/>
                    <a:pt x="5037" y="4673"/>
                  </a:cubicBezTo>
                  <a:cubicBezTo>
                    <a:pt x="5037" y="4628"/>
                    <a:pt x="5048" y="4587"/>
                    <a:pt x="5069" y="4550"/>
                  </a:cubicBezTo>
                  <a:cubicBezTo>
                    <a:pt x="5089" y="4514"/>
                    <a:pt x="5118" y="4486"/>
                    <a:pt x="5154" y="4466"/>
                  </a:cubicBezTo>
                  <a:cubicBezTo>
                    <a:pt x="5191" y="4445"/>
                    <a:pt x="5232" y="4435"/>
                    <a:pt x="5277" y="4435"/>
                  </a:cubicBezTo>
                  <a:cubicBezTo>
                    <a:pt x="5322" y="4435"/>
                    <a:pt x="5363" y="4445"/>
                    <a:pt x="5399" y="4466"/>
                  </a:cubicBezTo>
                  <a:cubicBezTo>
                    <a:pt x="5436" y="4486"/>
                    <a:pt x="5464" y="4514"/>
                    <a:pt x="5485" y="4550"/>
                  </a:cubicBezTo>
                  <a:cubicBezTo>
                    <a:pt x="5505" y="4587"/>
                    <a:pt x="5516" y="4628"/>
                    <a:pt x="5516" y="4673"/>
                  </a:cubicBezTo>
                  <a:cubicBezTo>
                    <a:pt x="5516" y="4719"/>
                    <a:pt x="5505" y="4760"/>
                    <a:pt x="5485" y="4796"/>
                  </a:cubicBezTo>
                  <a:cubicBezTo>
                    <a:pt x="5464" y="4833"/>
                    <a:pt x="5436" y="4861"/>
                    <a:pt x="5399" y="4882"/>
                  </a:cubicBezTo>
                  <a:cubicBezTo>
                    <a:pt x="5363" y="4902"/>
                    <a:pt x="5322" y="4912"/>
                    <a:pt x="5277" y="4912"/>
                  </a:cubicBezTo>
                  <a:cubicBezTo>
                    <a:pt x="5232" y="4912"/>
                    <a:pt x="5191" y="4902"/>
                    <a:pt x="5154" y="4882"/>
                  </a:cubicBezTo>
                  <a:close/>
                  <a:moveTo>
                    <a:pt x="4869" y="4612"/>
                  </a:moveTo>
                  <a:cubicBezTo>
                    <a:pt x="4902" y="4585"/>
                    <a:pt x="4918" y="4547"/>
                    <a:pt x="4918" y="4498"/>
                  </a:cubicBezTo>
                  <a:cubicBezTo>
                    <a:pt x="4918" y="4447"/>
                    <a:pt x="4902" y="4408"/>
                    <a:pt x="4869" y="4381"/>
                  </a:cubicBezTo>
                  <a:cubicBezTo>
                    <a:pt x="4836" y="4354"/>
                    <a:pt x="4789" y="4341"/>
                    <a:pt x="4727" y="4341"/>
                  </a:cubicBezTo>
                  <a:lnTo>
                    <a:pt x="4561" y="4341"/>
                  </a:lnTo>
                  <a:lnTo>
                    <a:pt x="4561" y="4653"/>
                  </a:lnTo>
                  <a:lnTo>
                    <a:pt x="4727" y="4653"/>
                  </a:lnTo>
                  <a:cubicBezTo>
                    <a:pt x="4789" y="4653"/>
                    <a:pt x="4836" y="4639"/>
                    <a:pt x="4869" y="4612"/>
                  </a:cubicBezTo>
                  <a:close/>
                  <a:moveTo>
                    <a:pt x="4917" y="4341"/>
                  </a:moveTo>
                  <a:cubicBezTo>
                    <a:pt x="4962" y="4379"/>
                    <a:pt x="4985" y="4431"/>
                    <a:pt x="4985" y="4498"/>
                  </a:cubicBezTo>
                  <a:cubicBezTo>
                    <a:pt x="4985" y="4564"/>
                    <a:pt x="4962" y="4616"/>
                    <a:pt x="4917" y="4654"/>
                  </a:cubicBezTo>
                  <a:cubicBezTo>
                    <a:pt x="4871" y="4692"/>
                    <a:pt x="4809" y="4711"/>
                    <a:pt x="4729" y="4711"/>
                  </a:cubicBezTo>
                  <a:lnTo>
                    <a:pt x="4561" y="4711"/>
                  </a:lnTo>
                  <a:lnTo>
                    <a:pt x="4561" y="4908"/>
                  </a:lnTo>
                  <a:lnTo>
                    <a:pt x="4495" y="4908"/>
                  </a:lnTo>
                  <a:lnTo>
                    <a:pt x="4495" y="4284"/>
                  </a:lnTo>
                  <a:lnTo>
                    <a:pt x="4729" y="4284"/>
                  </a:lnTo>
                  <a:cubicBezTo>
                    <a:pt x="4809" y="4284"/>
                    <a:pt x="4871" y="4303"/>
                    <a:pt x="4917" y="4341"/>
                  </a:cubicBezTo>
                  <a:moveTo>
                    <a:pt x="3939" y="4812"/>
                  </a:moveTo>
                  <a:cubicBezTo>
                    <a:pt x="3966" y="4797"/>
                    <a:pt x="3987" y="4777"/>
                    <a:pt x="4002" y="4751"/>
                  </a:cubicBezTo>
                  <a:cubicBezTo>
                    <a:pt x="4018" y="4725"/>
                    <a:pt x="4025" y="4695"/>
                    <a:pt x="4025" y="4662"/>
                  </a:cubicBezTo>
                  <a:cubicBezTo>
                    <a:pt x="4025" y="4628"/>
                    <a:pt x="4018" y="4599"/>
                    <a:pt x="4002" y="4573"/>
                  </a:cubicBezTo>
                  <a:cubicBezTo>
                    <a:pt x="3987" y="4547"/>
                    <a:pt x="3966" y="4527"/>
                    <a:pt x="3939" y="4512"/>
                  </a:cubicBezTo>
                  <a:cubicBezTo>
                    <a:pt x="3912" y="4498"/>
                    <a:pt x="3881" y="4491"/>
                    <a:pt x="3846" y="4491"/>
                  </a:cubicBezTo>
                  <a:cubicBezTo>
                    <a:pt x="3812" y="4491"/>
                    <a:pt x="3782" y="4498"/>
                    <a:pt x="3755" y="4512"/>
                  </a:cubicBezTo>
                  <a:cubicBezTo>
                    <a:pt x="3728" y="4526"/>
                    <a:pt x="3707" y="4546"/>
                    <a:pt x="3691" y="4573"/>
                  </a:cubicBezTo>
                  <a:cubicBezTo>
                    <a:pt x="3676" y="4599"/>
                    <a:pt x="3669" y="4628"/>
                    <a:pt x="3669" y="4662"/>
                  </a:cubicBezTo>
                  <a:cubicBezTo>
                    <a:pt x="3669" y="4695"/>
                    <a:pt x="3676" y="4725"/>
                    <a:pt x="3691" y="4751"/>
                  </a:cubicBezTo>
                  <a:cubicBezTo>
                    <a:pt x="3707" y="4777"/>
                    <a:pt x="3728" y="4797"/>
                    <a:pt x="3755" y="4812"/>
                  </a:cubicBezTo>
                  <a:cubicBezTo>
                    <a:pt x="3782" y="4827"/>
                    <a:pt x="3812" y="4834"/>
                    <a:pt x="3846" y="4834"/>
                  </a:cubicBezTo>
                  <a:cubicBezTo>
                    <a:pt x="3880" y="4834"/>
                    <a:pt x="3911" y="4827"/>
                    <a:pt x="3939" y="4812"/>
                  </a:cubicBezTo>
                  <a:moveTo>
                    <a:pt x="4087" y="4439"/>
                  </a:moveTo>
                  <a:lnTo>
                    <a:pt x="4087" y="4851"/>
                  </a:lnTo>
                  <a:cubicBezTo>
                    <a:pt x="4087" y="4930"/>
                    <a:pt x="4067" y="4990"/>
                    <a:pt x="4028" y="5028"/>
                  </a:cubicBezTo>
                  <a:cubicBezTo>
                    <a:pt x="3989" y="5066"/>
                    <a:pt x="3930" y="5085"/>
                    <a:pt x="3852" y="5085"/>
                  </a:cubicBezTo>
                  <a:cubicBezTo>
                    <a:pt x="3808" y="5085"/>
                    <a:pt x="3767" y="5079"/>
                    <a:pt x="3728" y="5066"/>
                  </a:cubicBezTo>
                  <a:cubicBezTo>
                    <a:pt x="3689" y="5053"/>
                    <a:pt x="3657" y="5036"/>
                    <a:pt x="3633" y="5013"/>
                  </a:cubicBezTo>
                  <a:lnTo>
                    <a:pt x="3665" y="4965"/>
                  </a:lnTo>
                  <a:cubicBezTo>
                    <a:pt x="3688" y="4985"/>
                    <a:pt x="3715" y="5001"/>
                    <a:pt x="3748" y="5012"/>
                  </a:cubicBezTo>
                  <a:cubicBezTo>
                    <a:pt x="3780" y="5024"/>
                    <a:pt x="3814" y="5029"/>
                    <a:pt x="3850" y="5029"/>
                  </a:cubicBezTo>
                  <a:cubicBezTo>
                    <a:pt x="3910" y="5029"/>
                    <a:pt x="3953" y="5015"/>
                    <a:pt x="3981" y="4988"/>
                  </a:cubicBezTo>
                  <a:cubicBezTo>
                    <a:pt x="4009" y="4960"/>
                    <a:pt x="4023" y="4917"/>
                    <a:pt x="4023" y="4859"/>
                  </a:cubicBezTo>
                  <a:lnTo>
                    <a:pt x="4023" y="4799"/>
                  </a:lnTo>
                  <a:cubicBezTo>
                    <a:pt x="4004" y="4829"/>
                    <a:pt x="3978" y="4851"/>
                    <a:pt x="3946" y="4867"/>
                  </a:cubicBezTo>
                  <a:cubicBezTo>
                    <a:pt x="3914" y="4882"/>
                    <a:pt x="3879" y="4890"/>
                    <a:pt x="3840" y="4890"/>
                  </a:cubicBezTo>
                  <a:cubicBezTo>
                    <a:pt x="3796" y="4890"/>
                    <a:pt x="3756" y="4880"/>
                    <a:pt x="3720" y="4861"/>
                  </a:cubicBezTo>
                  <a:cubicBezTo>
                    <a:pt x="3684" y="4842"/>
                    <a:pt x="3656" y="4815"/>
                    <a:pt x="3635" y="4780"/>
                  </a:cubicBezTo>
                  <a:cubicBezTo>
                    <a:pt x="3614" y="4745"/>
                    <a:pt x="3604" y="4706"/>
                    <a:pt x="3604" y="4662"/>
                  </a:cubicBezTo>
                  <a:cubicBezTo>
                    <a:pt x="3604" y="4618"/>
                    <a:pt x="3614" y="4578"/>
                    <a:pt x="3635" y="4544"/>
                  </a:cubicBezTo>
                  <a:cubicBezTo>
                    <a:pt x="3656" y="4510"/>
                    <a:pt x="3684" y="4483"/>
                    <a:pt x="3719" y="4464"/>
                  </a:cubicBezTo>
                  <a:cubicBezTo>
                    <a:pt x="3755" y="4445"/>
                    <a:pt x="3795" y="4435"/>
                    <a:pt x="3840" y="4435"/>
                  </a:cubicBezTo>
                  <a:cubicBezTo>
                    <a:pt x="3880" y="4435"/>
                    <a:pt x="3916" y="4443"/>
                    <a:pt x="3948" y="4459"/>
                  </a:cubicBezTo>
                  <a:cubicBezTo>
                    <a:pt x="3981" y="4475"/>
                    <a:pt x="4006" y="4499"/>
                    <a:pt x="4026" y="4529"/>
                  </a:cubicBezTo>
                  <a:lnTo>
                    <a:pt x="4026" y="4439"/>
                  </a:lnTo>
                  <a:lnTo>
                    <a:pt x="4087" y="4439"/>
                  </a:lnTo>
                  <a:close/>
                  <a:moveTo>
                    <a:pt x="3453" y="4487"/>
                  </a:moveTo>
                  <a:cubicBezTo>
                    <a:pt x="3487" y="4521"/>
                    <a:pt x="3505" y="4570"/>
                    <a:pt x="3505" y="4636"/>
                  </a:cubicBezTo>
                  <a:lnTo>
                    <a:pt x="3505" y="4908"/>
                  </a:lnTo>
                  <a:lnTo>
                    <a:pt x="3441" y="4908"/>
                  </a:lnTo>
                  <a:lnTo>
                    <a:pt x="3441" y="4642"/>
                  </a:lnTo>
                  <a:cubicBezTo>
                    <a:pt x="3441" y="4593"/>
                    <a:pt x="3429" y="4556"/>
                    <a:pt x="3405" y="4531"/>
                  </a:cubicBezTo>
                  <a:cubicBezTo>
                    <a:pt x="3380" y="4505"/>
                    <a:pt x="3345" y="4492"/>
                    <a:pt x="3300" y="4492"/>
                  </a:cubicBezTo>
                  <a:cubicBezTo>
                    <a:pt x="3249" y="4492"/>
                    <a:pt x="3209" y="4507"/>
                    <a:pt x="3180" y="4537"/>
                  </a:cubicBezTo>
                  <a:cubicBezTo>
                    <a:pt x="3150" y="4567"/>
                    <a:pt x="3136" y="4609"/>
                    <a:pt x="3136" y="4662"/>
                  </a:cubicBezTo>
                  <a:lnTo>
                    <a:pt x="3136" y="4908"/>
                  </a:lnTo>
                  <a:lnTo>
                    <a:pt x="3072" y="4908"/>
                  </a:lnTo>
                  <a:lnTo>
                    <a:pt x="3072" y="4439"/>
                  </a:lnTo>
                  <a:lnTo>
                    <a:pt x="3133" y="4439"/>
                  </a:lnTo>
                  <a:lnTo>
                    <a:pt x="3133" y="4525"/>
                  </a:lnTo>
                  <a:cubicBezTo>
                    <a:pt x="3150" y="4497"/>
                    <a:pt x="3174" y="4475"/>
                    <a:pt x="3205" y="4459"/>
                  </a:cubicBezTo>
                  <a:cubicBezTo>
                    <a:pt x="3236" y="4443"/>
                    <a:pt x="3271" y="4435"/>
                    <a:pt x="3312" y="4435"/>
                  </a:cubicBezTo>
                  <a:cubicBezTo>
                    <a:pt x="3371" y="4435"/>
                    <a:pt x="3418" y="4452"/>
                    <a:pt x="3453" y="4487"/>
                  </a:cubicBezTo>
                  <a:close/>
                  <a:moveTo>
                    <a:pt x="2858" y="4439"/>
                  </a:moveTo>
                  <a:lnTo>
                    <a:pt x="2922" y="4439"/>
                  </a:lnTo>
                  <a:lnTo>
                    <a:pt x="2922" y="4908"/>
                  </a:lnTo>
                  <a:lnTo>
                    <a:pt x="2858" y="4908"/>
                  </a:lnTo>
                  <a:lnTo>
                    <a:pt x="2858" y="4439"/>
                  </a:lnTo>
                  <a:close/>
                  <a:moveTo>
                    <a:pt x="2858" y="4323"/>
                  </a:moveTo>
                  <a:cubicBezTo>
                    <a:pt x="2849" y="4314"/>
                    <a:pt x="2844" y="4303"/>
                    <a:pt x="2844" y="4291"/>
                  </a:cubicBezTo>
                  <a:cubicBezTo>
                    <a:pt x="2844" y="4279"/>
                    <a:pt x="2849" y="4268"/>
                    <a:pt x="2858" y="4260"/>
                  </a:cubicBezTo>
                  <a:cubicBezTo>
                    <a:pt x="2867" y="4251"/>
                    <a:pt x="2878" y="4246"/>
                    <a:pt x="2891" y="4246"/>
                  </a:cubicBezTo>
                  <a:cubicBezTo>
                    <a:pt x="2904" y="4246"/>
                    <a:pt x="2915" y="4250"/>
                    <a:pt x="2924" y="4259"/>
                  </a:cubicBezTo>
                  <a:cubicBezTo>
                    <a:pt x="2933" y="4268"/>
                    <a:pt x="2937" y="4278"/>
                    <a:pt x="2937" y="4290"/>
                  </a:cubicBezTo>
                  <a:cubicBezTo>
                    <a:pt x="2937" y="4303"/>
                    <a:pt x="2933" y="4314"/>
                    <a:pt x="2924" y="4323"/>
                  </a:cubicBezTo>
                  <a:cubicBezTo>
                    <a:pt x="2915" y="4332"/>
                    <a:pt x="2904" y="4336"/>
                    <a:pt x="2891" y="4336"/>
                  </a:cubicBezTo>
                  <a:cubicBezTo>
                    <a:pt x="2878" y="4336"/>
                    <a:pt x="2867" y="4332"/>
                    <a:pt x="2858" y="4323"/>
                  </a:cubicBezTo>
                  <a:close/>
                  <a:moveTo>
                    <a:pt x="2643" y="4459"/>
                  </a:moveTo>
                  <a:cubicBezTo>
                    <a:pt x="2673" y="4443"/>
                    <a:pt x="2710" y="4435"/>
                    <a:pt x="2753" y="4435"/>
                  </a:cubicBezTo>
                  <a:lnTo>
                    <a:pt x="2753" y="4497"/>
                  </a:lnTo>
                  <a:lnTo>
                    <a:pt x="2738" y="4496"/>
                  </a:lnTo>
                  <a:cubicBezTo>
                    <a:pt x="2688" y="4496"/>
                    <a:pt x="2650" y="4511"/>
                    <a:pt x="2622" y="4541"/>
                  </a:cubicBezTo>
                  <a:cubicBezTo>
                    <a:pt x="2594" y="4572"/>
                    <a:pt x="2580" y="4614"/>
                    <a:pt x="2580" y="4669"/>
                  </a:cubicBezTo>
                  <a:lnTo>
                    <a:pt x="2580" y="4908"/>
                  </a:lnTo>
                  <a:lnTo>
                    <a:pt x="2516" y="4908"/>
                  </a:lnTo>
                  <a:lnTo>
                    <a:pt x="2516" y="4439"/>
                  </a:lnTo>
                  <a:lnTo>
                    <a:pt x="2577" y="4439"/>
                  </a:lnTo>
                  <a:lnTo>
                    <a:pt x="2577" y="4531"/>
                  </a:lnTo>
                  <a:cubicBezTo>
                    <a:pt x="2592" y="4499"/>
                    <a:pt x="2614" y="4475"/>
                    <a:pt x="2643" y="4459"/>
                  </a:cubicBezTo>
                  <a:close/>
                  <a:moveTo>
                    <a:pt x="2053" y="4533"/>
                  </a:moveTo>
                  <a:cubicBezTo>
                    <a:pt x="2023" y="4562"/>
                    <a:pt x="2005" y="4599"/>
                    <a:pt x="2001" y="4646"/>
                  </a:cubicBezTo>
                  <a:lnTo>
                    <a:pt x="2335" y="4646"/>
                  </a:lnTo>
                  <a:cubicBezTo>
                    <a:pt x="2330" y="4599"/>
                    <a:pt x="2313" y="4562"/>
                    <a:pt x="2282" y="4533"/>
                  </a:cubicBezTo>
                  <a:cubicBezTo>
                    <a:pt x="2252" y="4504"/>
                    <a:pt x="2213" y="4490"/>
                    <a:pt x="2167" y="4490"/>
                  </a:cubicBezTo>
                  <a:cubicBezTo>
                    <a:pt x="2122" y="4490"/>
                    <a:pt x="2084" y="4504"/>
                    <a:pt x="2053" y="4533"/>
                  </a:cubicBezTo>
                  <a:close/>
                  <a:moveTo>
                    <a:pt x="2395" y="4693"/>
                  </a:moveTo>
                  <a:lnTo>
                    <a:pt x="2001" y="4693"/>
                  </a:lnTo>
                  <a:cubicBezTo>
                    <a:pt x="2005" y="4742"/>
                    <a:pt x="2023" y="4781"/>
                    <a:pt x="2057" y="4811"/>
                  </a:cubicBezTo>
                  <a:cubicBezTo>
                    <a:pt x="2091" y="4841"/>
                    <a:pt x="2134" y="4856"/>
                    <a:pt x="2186" y="4856"/>
                  </a:cubicBezTo>
                  <a:cubicBezTo>
                    <a:pt x="2215" y="4856"/>
                    <a:pt x="2242" y="4851"/>
                    <a:pt x="2267" y="4841"/>
                  </a:cubicBezTo>
                  <a:cubicBezTo>
                    <a:pt x="2291" y="4830"/>
                    <a:pt x="2312" y="4815"/>
                    <a:pt x="2330" y="4795"/>
                  </a:cubicBezTo>
                  <a:lnTo>
                    <a:pt x="2366" y="4836"/>
                  </a:lnTo>
                  <a:cubicBezTo>
                    <a:pt x="2345" y="4861"/>
                    <a:pt x="2319" y="4880"/>
                    <a:pt x="2288" y="4893"/>
                  </a:cubicBezTo>
                  <a:cubicBezTo>
                    <a:pt x="2256" y="4906"/>
                    <a:pt x="2222" y="4912"/>
                    <a:pt x="2184" y="4912"/>
                  </a:cubicBezTo>
                  <a:cubicBezTo>
                    <a:pt x="2136" y="4912"/>
                    <a:pt x="2093" y="4902"/>
                    <a:pt x="2056" y="4882"/>
                  </a:cubicBezTo>
                  <a:cubicBezTo>
                    <a:pt x="2019" y="4861"/>
                    <a:pt x="1990" y="4833"/>
                    <a:pt x="1969" y="4796"/>
                  </a:cubicBezTo>
                  <a:cubicBezTo>
                    <a:pt x="1948" y="4760"/>
                    <a:pt x="1938" y="4719"/>
                    <a:pt x="1938" y="4673"/>
                  </a:cubicBezTo>
                  <a:cubicBezTo>
                    <a:pt x="1938" y="4628"/>
                    <a:pt x="1948" y="4587"/>
                    <a:pt x="1968" y="4550"/>
                  </a:cubicBezTo>
                  <a:cubicBezTo>
                    <a:pt x="1988" y="4514"/>
                    <a:pt x="2015" y="4486"/>
                    <a:pt x="2050" y="4466"/>
                  </a:cubicBezTo>
                  <a:cubicBezTo>
                    <a:pt x="2085" y="4445"/>
                    <a:pt x="2124" y="4435"/>
                    <a:pt x="2167" y="4435"/>
                  </a:cubicBezTo>
                  <a:cubicBezTo>
                    <a:pt x="2211" y="4435"/>
                    <a:pt x="2250" y="4445"/>
                    <a:pt x="2285" y="4466"/>
                  </a:cubicBezTo>
                  <a:cubicBezTo>
                    <a:pt x="2319" y="4486"/>
                    <a:pt x="2346" y="4514"/>
                    <a:pt x="2366" y="4550"/>
                  </a:cubicBezTo>
                  <a:cubicBezTo>
                    <a:pt x="2386" y="4586"/>
                    <a:pt x="2395" y="4627"/>
                    <a:pt x="2395" y="4673"/>
                  </a:cubicBezTo>
                  <a:lnTo>
                    <a:pt x="2395" y="4693"/>
                  </a:lnTo>
                  <a:close/>
                  <a:moveTo>
                    <a:pt x="1912" y="4439"/>
                  </a:moveTo>
                  <a:lnTo>
                    <a:pt x="1734" y="4908"/>
                  </a:lnTo>
                  <a:lnTo>
                    <a:pt x="1674" y="4908"/>
                  </a:lnTo>
                  <a:lnTo>
                    <a:pt x="1525" y="4524"/>
                  </a:lnTo>
                  <a:lnTo>
                    <a:pt x="1377" y="4908"/>
                  </a:lnTo>
                  <a:lnTo>
                    <a:pt x="1317" y="4908"/>
                  </a:lnTo>
                  <a:lnTo>
                    <a:pt x="1140" y="4439"/>
                  </a:lnTo>
                  <a:lnTo>
                    <a:pt x="1201" y="4439"/>
                  </a:lnTo>
                  <a:lnTo>
                    <a:pt x="1348" y="4837"/>
                  </a:lnTo>
                  <a:lnTo>
                    <a:pt x="1500" y="4439"/>
                  </a:lnTo>
                  <a:lnTo>
                    <a:pt x="1554" y="4439"/>
                  </a:lnTo>
                  <a:lnTo>
                    <a:pt x="1704" y="4837"/>
                  </a:lnTo>
                  <a:lnTo>
                    <a:pt x="1854" y="4439"/>
                  </a:lnTo>
                  <a:lnTo>
                    <a:pt x="1912" y="4439"/>
                  </a:lnTo>
                  <a:close/>
                  <a:moveTo>
                    <a:pt x="965" y="4833"/>
                  </a:moveTo>
                  <a:cubicBezTo>
                    <a:pt x="992" y="4818"/>
                    <a:pt x="1013" y="4797"/>
                    <a:pt x="1027" y="4769"/>
                  </a:cubicBezTo>
                  <a:cubicBezTo>
                    <a:pt x="1042" y="4741"/>
                    <a:pt x="1050" y="4709"/>
                    <a:pt x="1050" y="4673"/>
                  </a:cubicBezTo>
                  <a:cubicBezTo>
                    <a:pt x="1050" y="4638"/>
                    <a:pt x="1042" y="4606"/>
                    <a:pt x="1027" y="4578"/>
                  </a:cubicBezTo>
                  <a:cubicBezTo>
                    <a:pt x="1013" y="4550"/>
                    <a:pt x="992" y="4528"/>
                    <a:pt x="965" y="4513"/>
                  </a:cubicBezTo>
                  <a:cubicBezTo>
                    <a:pt x="939" y="4498"/>
                    <a:pt x="909" y="4491"/>
                    <a:pt x="875" y="4491"/>
                  </a:cubicBezTo>
                  <a:cubicBezTo>
                    <a:pt x="842" y="4491"/>
                    <a:pt x="812" y="4498"/>
                    <a:pt x="786" y="4513"/>
                  </a:cubicBezTo>
                  <a:cubicBezTo>
                    <a:pt x="759" y="4528"/>
                    <a:pt x="738" y="4550"/>
                    <a:pt x="723" y="4578"/>
                  </a:cubicBezTo>
                  <a:cubicBezTo>
                    <a:pt x="708" y="4606"/>
                    <a:pt x="700" y="4638"/>
                    <a:pt x="700" y="4673"/>
                  </a:cubicBezTo>
                  <a:cubicBezTo>
                    <a:pt x="700" y="4709"/>
                    <a:pt x="708" y="4741"/>
                    <a:pt x="723" y="4769"/>
                  </a:cubicBezTo>
                  <a:cubicBezTo>
                    <a:pt x="738" y="4797"/>
                    <a:pt x="759" y="4818"/>
                    <a:pt x="786" y="4833"/>
                  </a:cubicBezTo>
                  <a:cubicBezTo>
                    <a:pt x="812" y="4849"/>
                    <a:pt x="842" y="4856"/>
                    <a:pt x="875" y="4856"/>
                  </a:cubicBezTo>
                  <a:cubicBezTo>
                    <a:pt x="909" y="4856"/>
                    <a:pt x="939" y="4849"/>
                    <a:pt x="965" y="4833"/>
                  </a:cubicBezTo>
                  <a:close/>
                  <a:moveTo>
                    <a:pt x="753" y="4882"/>
                  </a:moveTo>
                  <a:cubicBezTo>
                    <a:pt x="717" y="4861"/>
                    <a:pt x="688" y="4833"/>
                    <a:pt x="667" y="4796"/>
                  </a:cubicBezTo>
                  <a:cubicBezTo>
                    <a:pt x="646" y="4760"/>
                    <a:pt x="636" y="4719"/>
                    <a:pt x="636" y="4673"/>
                  </a:cubicBezTo>
                  <a:cubicBezTo>
                    <a:pt x="636" y="4628"/>
                    <a:pt x="646" y="4587"/>
                    <a:pt x="667" y="4550"/>
                  </a:cubicBezTo>
                  <a:cubicBezTo>
                    <a:pt x="688" y="4514"/>
                    <a:pt x="717" y="4486"/>
                    <a:pt x="753" y="4466"/>
                  </a:cubicBezTo>
                  <a:cubicBezTo>
                    <a:pt x="789" y="4445"/>
                    <a:pt x="830" y="4435"/>
                    <a:pt x="875" y="4435"/>
                  </a:cubicBezTo>
                  <a:cubicBezTo>
                    <a:pt x="921" y="4435"/>
                    <a:pt x="962" y="4445"/>
                    <a:pt x="998" y="4466"/>
                  </a:cubicBezTo>
                  <a:cubicBezTo>
                    <a:pt x="1034" y="4486"/>
                    <a:pt x="1063" y="4514"/>
                    <a:pt x="1083" y="4550"/>
                  </a:cubicBezTo>
                  <a:cubicBezTo>
                    <a:pt x="1104" y="4587"/>
                    <a:pt x="1114" y="4628"/>
                    <a:pt x="1114" y="4673"/>
                  </a:cubicBezTo>
                  <a:cubicBezTo>
                    <a:pt x="1114" y="4719"/>
                    <a:pt x="1104" y="4760"/>
                    <a:pt x="1083" y="4796"/>
                  </a:cubicBezTo>
                  <a:cubicBezTo>
                    <a:pt x="1063" y="4833"/>
                    <a:pt x="1034" y="4861"/>
                    <a:pt x="998" y="4882"/>
                  </a:cubicBezTo>
                  <a:cubicBezTo>
                    <a:pt x="962" y="4902"/>
                    <a:pt x="921" y="4912"/>
                    <a:pt x="875" y="4912"/>
                  </a:cubicBezTo>
                  <a:cubicBezTo>
                    <a:pt x="830" y="4912"/>
                    <a:pt x="789" y="4902"/>
                    <a:pt x="753" y="4882"/>
                  </a:cubicBezTo>
                  <a:close/>
                  <a:moveTo>
                    <a:pt x="468" y="4612"/>
                  </a:moveTo>
                  <a:cubicBezTo>
                    <a:pt x="501" y="4585"/>
                    <a:pt x="517" y="4547"/>
                    <a:pt x="517" y="4498"/>
                  </a:cubicBezTo>
                  <a:cubicBezTo>
                    <a:pt x="517" y="4447"/>
                    <a:pt x="501" y="4408"/>
                    <a:pt x="468" y="4381"/>
                  </a:cubicBezTo>
                  <a:cubicBezTo>
                    <a:pt x="435" y="4354"/>
                    <a:pt x="388" y="4341"/>
                    <a:pt x="326" y="4341"/>
                  </a:cubicBezTo>
                  <a:lnTo>
                    <a:pt x="159" y="4341"/>
                  </a:lnTo>
                  <a:lnTo>
                    <a:pt x="159" y="4653"/>
                  </a:lnTo>
                  <a:lnTo>
                    <a:pt x="326" y="4653"/>
                  </a:lnTo>
                  <a:cubicBezTo>
                    <a:pt x="388" y="4653"/>
                    <a:pt x="435" y="4639"/>
                    <a:pt x="468" y="4612"/>
                  </a:cubicBezTo>
                  <a:moveTo>
                    <a:pt x="515" y="4341"/>
                  </a:moveTo>
                  <a:cubicBezTo>
                    <a:pt x="560" y="4379"/>
                    <a:pt x="583" y="4431"/>
                    <a:pt x="583" y="4498"/>
                  </a:cubicBezTo>
                  <a:cubicBezTo>
                    <a:pt x="583" y="4564"/>
                    <a:pt x="560" y="4616"/>
                    <a:pt x="515" y="4654"/>
                  </a:cubicBezTo>
                  <a:cubicBezTo>
                    <a:pt x="470" y="4692"/>
                    <a:pt x="407" y="4711"/>
                    <a:pt x="327" y="4711"/>
                  </a:cubicBezTo>
                  <a:lnTo>
                    <a:pt x="159" y="4711"/>
                  </a:lnTo>
                  <a:lnTo>
                    <a:pt x="159" y="4908"/>
                  </a:lnTo>
                  <a:lnTo>
                    <a:pt x="93" y="4908"/>
                  </a:lnTo>
                  <a:lnTo>
                    <a:pt x="93" y="4284"/>
                  </a:lnTo>
                  <a:lnTo>
                    <a:pt x="327" y="4284"/>
                  </a:lnTo>
                  <a:cubicBezTo>
                    <a:pt x="407" y="4284"/>
                    <a:pt x="470" y="4303"/>
                    <a:pt x="515" y="43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3">
              <a:extLst>
                <a:ext uri="{FF2B5EF4-FFF2-40B4-BE49-F238E27FC236}">
                  <a16:creationId xmlns:a16="http://schemas.microsoft.com/office/drawing/2014/main" id="{7EF27DDA-3E20-3548-BCFD-243DCFFEF3BF}"/>
                </a:ext>
              </a:extLst>
            </p:cNvPr>
            <p:cNvSpPr>
              <a:spLocks noEditPoints="1"/>
            </p:cNvSpPr>
            <p:nvPr userDrawn="1"/>
          </p:nvSpPr>
          <p:spPr bwMode="auto">
            <a:xfrm>
              <a:off x="1481" y="1882"/>
              <a:ext cx="4755" cy="713"/>
            </a:xfrm>
            <a:custGeom>
              <a:avLst/>
              <a:gdLst>
                <a:gd name="T0" fmla="*/ 9402 w 9905"/>
                <a:gd name="T1" fmla="*/ 1485 h 1485"/>
                <a:gd name="T2" fmla="*/ 9609 w 9905"/>
                <a:gd name="T3" fmla="*/ 673 h 1485"/>
                <a:gd name="T4" fmla="*/ 9235 w 9905"/>
                <a:gd name="T5" fmla="*/ 387 h 1485"/>
                <a:gd name="T6" fmla="*/ 9645 w 9905"/>
                <a:gd name="T7" fmla="*/ 272 h 1485"/>
                <a:gd name="T8" fmla="*/ 9852 w 9905"/>
                <a:gd name="T9" fmla="*/ 188 h 1485"/>
                <a:gd name="T10" fmla="*/ 9440 w 9905"/>
                <a:gd name="T11" fmla="*/ 0 h 1485"/>
                <a:gd name="T12" fmla="*/ 9297 w 9905"/>
                <a:gd name="T13" fmla="*/ 792 h 1485"/>
                <a:gd name="T14" fmla="*/ 9655 w 9905"/>
                <a:gd name="T15" fmla="*/ 1077 h 1485"/>
                <a:gd name="T16" fmla="*/ 9102 w 9905"/>
                <a:gd name="T17" fmla="*/ 1105 h 1485"/>
                <a:gd name="T18" fmla="*/ 7727 w 9905"/>
                <a:gd name="T19" fmla="*/ 1267 h 1485"/>
                <a:gd name="T20" fmla="*/ 8704 w 9905"/>
                <a:gd name="T21" fmla="*/ 1072 h 1485"/>
                <a:gd name="T22" fmla="*/ 8168 w 9905"/>
                <a:gd name="T23" fmla="*/ 558 h 1485"/>
                <a:gd name="T24" fmla="*/ 8252 w 9905"/>
                <a:gd name="T25" fmla="*/ 227 h 1485"/>
                <a:gd name="T26" fmla="*/ 8543 w 9905"/>
                <a:gd name="T27" fmla="*/ 300 h 1485"/>
                <a:gd name="T28" fmla="*/ 8567 w 9905"/>
                <a:gd name="T29" fmla="*/ 73 h 1485"/>
                <a:gd name="T30" fmla="*/ 7785 w 9905"/>
                <a:gd name="T31" fmla="*/ 395 h 1485"/>
                <a:gd name="T32" fmla="*/ 8292 w 9905"/>
                <a:gd name="T33" fmla="*/ 885 h 1485"/>
                <a:gd name="T34" fmla="*/ 8225 w 9905"/>
                <a:gd name="T35" fmla="*/ 1257 h 1485"/>
                <a:gd name="T36" fmla="*/ 7727 w 9905"/>
                <a:gd name="T37" fmla="*/ 1267 h 1485"/>
                <a:gd name="T38" fmla="*/ 3354 w 9905"/>
                <a:gd name="T39" fmla="*/ 1485 h 1485"/>
                <a:gd name="T40" fmla="*/ 3560 w 9905"/>
                <a:gd name="T41" fmla="*/ 673 h 1485"/>
                <a:gd name="T42" fmla="*/ 3187 w 9905"/>
                <a:gd name="T43" fmla="*/ 387 h 1485"/>
                <a:gd name="T44" fmla="*/ 3597 w 9905"/>
                <a:gd name="T45" fmla="*/ 272 h 1485"/>
                <a:gd name="T46" fmla="*/ 3805 w 9905"/>
                <a:gd name="T47" fmla="*/ 188 h 1485"/>
                <a:gd name="T48" fmla="*/ 3393 w 9905"/>
                <a:gd name="T49" fmla="*/ 0 h 1485"/>
                <a:gd name="T50" fmla="*/ 3250 w 9905"/>
                <a:gd name="T51" fmla="*/ 792 h 1485"/>
                <a:gd name="T52" fmla="*/ 3609 w 9905"/>
                <a:gd name="T53" fmla="*/ 1077 h 1485"/>
                <a:gd name="T54" fmla="*/ 3055 w 9905"/>
                <a:gd name="T55" fmla="*/ 1105 h 1485"/>
                <a:gd name="T56" fmla="*/ 5023 w 9905"/>
                <a:gd name="T57" fmla="*/ 0 h 1485"/>
                <a:gd name="T58" fmla="*/ 4905 w 9905"/>
                <a:gd name="T59" fmla="*/ 1370 h 1485"/>
                <a:gd name="T60" fmla="*/ 5140 w 9905"/>
                <a:gd name="T61" fmla="*/ 1370 h 1485"/>
                <a:gd name="T62" fmla="*/ 5868 w 9905"/>
                <a:gd name="T63" fmla="*/ 1395 h 1485"/>
                <a:gd name="T64" fmla="*/ 6117 w 9905"/>
                <a:gd name="T65" fmla="*/ 1372 h 1485"/>
                <a:gd name="T66" fmla="*/ 5884 w 9905"/>
                <a:gd name="T67" fmla="*/ 10 h 1485"/>
                <a:gd name="T68" fmla="*/ 5152 w 9905"/>
                <a:gd name="T69" fmla="*/ 88 h 1485"/>
                <a:gd name="T70" fmla="*/ 882 w 9905"/>
                <a:gd name="T71" fmla="*/ 682 h 1485"/>
                <a:gd name="T72" fmla="*/ 652 w 9905"/>
                <a:gd name="T73" fmla="*/ 1475 h 1485"/>
                <a:gd name="T74" fmla="*/ 0 w 9905"/>
                <a:gd name="T75" fmla="*/ 122 h 1485"/>
                <a:gd name="T76" fmla="*/ 622 w 9905"/>
                <a:gd name="T77" fmla="*/ 7 h 1485"/>
                <a:gd name="T78" fmla="*/ 882 w 9905"/>
                <a:gd name="T79" fmla="*/ 682 h 1485"/>
                <a:gd name="T80" fmla="*/ 592 w 9905"/>
                <a:gd name="T81" fmla="*/ 595 h 1485"/>
                <a:gd name="T82" fmla="*/ 592 w 9905"/>
                <a:gd name="T83" fmla="*/ 238 h 1485"/>
                <a:gd name="T84" fmla="*/ 237 w 9905"/>
                <a:gd name="T85" fmla="*/ 595 h 1485"/>
                <a:gd name="T86" fmla="*/ 859 w 9905"/>
                <a:gd name="T87" fmla="*/ 1032 h 1485"/>
                <a:gd name="T88" fmla="*/ 237 w 9905"/>
                <a:gd name="T89" fmla="*/ 812 h 1485"/>
                <a:gd name="T90" fmla="*/ 607 w 9905"/>
                <a:gd name="T91" fmla="*/ 1250 h 1485"/>
                <a:gd name="T92" fmla="*/ 7492 w 9905"/>
                <a:gd name="T93" fmla="*/ 125 h 1485"/>
                <a:gd name="T94" fmla="*/ 6642 w 9905"/>
                <a:gd name="T95" fmla="*/ 10 h 1485"/>
                <a:gd name="T96" fmla="*/ 6527 w 9905"/>
                <a:gd name="T97" fmla="*/ 1365 h 1485"/>
                <a:gd name="T98" fmla="*/ 7484 w 9905"/>
                <a:gd name="T99" fmla="*/ 1478 h 1485"/>
                <a:gd name="T100" fmla="*/ 6764 w 9905"/>
                <a:gd name="T101" fmla="*/ 1248 h 1485"/>
                <a:gd name="T102" fmla="*/ 7307 w 9905"/>
                <a:gd name="T103" fmla="*/ 822 h 1485"/>
                <a:gd name="T104" fmla="*/ 7307 w 9905"/>
                <a:gd name="T105" fmla="*/ 592 h 1485"/>
                <a:gd name="T106" fmla="*/ 6764 w 9905"/>
                <a:gd name="T107" fmla="*/ 240 h 1485"/>
                <a:gd name="T108" fmla="*/ 1635 w 9905"/>
                <a:gd name="T109" fmla="*/ 893 h 1485"/>
                <a:gd name="T110" fmla="*/ 1517 w 9905"/>
                <a:gd name="T111" fmla="*/ 0 h 1485"/>
                <a:gd name="T112" fmla="*/ 1399 w 9905"/>
                <a:gd name="T113" fmla="*/ 885 h 1485"/>
                <a:gd name="T114" fmla="*/ 2605 w 9905"/>
                <a:gd name="T115" fmla="*/ 885 h 1485"/>
                <a:gd name="T116" fmla="*/ 2367 w 9905"/>
                <a:gd name="T117" fmla="*/ 7 h 1485"/>
                <a:gd name="T118" fmla="*/ 2002 w 9905"/>
                <a:gd name="T119" fmla="*/ 1260 h 1485"/>
                <a:gd name="T120" fmla="*/ 4320 w 9905"/>
                <a:gd name="T121" fmla="*/ 0 h 1485"/>
                <a:gd name="T122" fmla="*/ 4439 w 9905"/>
                <a:gd name="T123" fmla="*/ 1477 h 1485"/>
                <a:gd name="T124" fmla="*/ 4202 w 9905"/>
                <a:gd name="T125" fmla="*/ 11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05" h="1485">
                  <a:moveTo>
                    <a:pt x="8929" y="1267"/>
                  </a:moveTo>
                  <a:cubicBezTo>
                    <a:pt x="8959" y="1305"/>
                    <a:pt x="9097" y="1485"/>
                    <a:pt x="9402" y="1485"/>
                  </a:cubicBezTo>
                  <a:cubicBezTo>
                    <a:pt x="9700" y="1485"/>
                    <a:pt x="9905" y="1313"/>
                    <a:pt x="9905" y="1072"/>
                  </a:cubicBezTo>
                  <a:cubicBezTo>
                    <a:pt x="9905" y="913"/>
                    <a:pt x="9842" y="787"/>
                    <a:pt x="9609" y="673"/>
                  </a:cubicBezTo>
                  <a:cubicBezTo>
                    <a:pt x="9545" y="643"/>
                    <a:pt x="9368" y="558"/>
                    <a:pt x="9368" y="558"/>
                  </a:cubicBezTo>
                  <a:cubicBezTo>
                    <a:pt x="9277" y="513"/>
                    <a:pt x="9235" y="460"/>
                    <a:pt x="9235" y="387"/>
                  </a:cubicBezTo>
                  <a:cubicBezTo>
                    <a:pt x="9235" y="310"/>
                    <a:pt x="9298" y="227"/>
                    <a:pt x="9452" y="227"/>
                  </a:cubicBezTo>
                  <a:cubicBezTo>
                    <a:pt x="9540" y="227"/>
                    <a:pt x="9609" y="255"/>
                    <a:pt x="9645" y="272"/>
                  </a:cubicBezTo>
                  <a:cubicBezTo>
                    <a:pt x="9662" y="280"/>
                    <a:pt x="9704" y="300"/>
                    <a:pt x="9743" y="300"/>
                  </a:cubicBezTo>
                  <a:cubicBezTo>
                    <a:pt x="9795" y="300"/>
                    <a:pt x="9852" y="263"/>
                    <a:pt x="9852" y="188"/>
                  </a:cubicBezTo>
                  <a:cubicBezTo>
                    <a:pt x="9852" y="125"/>
                    <a:pt x="9807" y="92"/>
                    <a:pt x="9767" y="73"/>
                  </a:cubicBezTo>
                  <a:cubicBezTo>
                    <a:pt x="9704" y="43"/>
                    <a:pt x="9605" y="0"/>
                    <a:pt x="9440" y="0"/>
                  </a:cubicBezTo>
                  <a:cubicBezTo>
                    <a:pt x="9179" y="0"/>
                    <a:pt x="8985" y="165"/>
                    <a:pt x="8985" y="395"/>
                  </a:cubicBezTo>
                  <a:cubicBezTo>
                    <a:pt x="8985" y="605"/>
                    <a:pt x="9125" y="710"/>
                    <a:pt x="9297" y="792"/>
                  </a:cubicBezTo>
                  <a:cubicBezTo>
                    <a:pt x="9329" y="807"/>
                    <a:pt x="9455" y="868"/>
                    <a:pt x="9490" y="885"/>
                  </a:cubicBezTo>
                  <a:cubicBezTo>
                    <a:pt x="9598" y="937"/>
                    <a:pt x="9655" y="987"/>
                    <a:pt x="9655" y="1077"/>
                  </a:cubicBezTo>
                  <a:cubicBezTo>
                    <a:pt x="9655" y="1175"/>
                    <a:pt x="9564" y="1257"/>
                    <a:pt x="9425" y="1257"/>
                  </a:cubicBezTo>
                  <a:cubicBezTo>
                    <a:pt x="9227" y="1257"/>
                    <a:pt x="9120" y="1127"/>
                    <a:pt x="9102" y="1105"/>
                  </a:cubicBezTo>
                  <a:lnTo>
                    <a:pt x="8929" y="1267"/>
                  </a:lnTo>
                  <a:close/>
                  <a:moveTo>
                    <a:pt x="7727" y="1267"/>
                  </a:moveTo>
                  <a:cubicBezTo>
                    <a:pt x="7757" y="1305"/>
                    <a:pt x="7897" y="1485"/>
                    <a:pt x="8202" y="1485"/>
                  </a:cubicBezTo>
                  <a:cubicBezTo>
                    <a:pt x="8500" y="1485"/>
                    <a:pt x="8704" y="1313"/>
                    <a:pt x="8704" y="1072"/>
                  </a:cubicBezTo>
                  <a:cubicBezTo>
                    <a:pt x="8704" y="913"/>
                    <a:pt x="8642" y="787"/>
                    <a:pt x="8407" y="673"/>
                  </a:cubicBezTo>
                  <a:cubicBezTo>
                    <a:pt x="8345" y="643"/>
                    <a:pt x="8168" y="558"/>
                    <a:pt x="8168" y="558"/>
                  </a:cubicBezTo>
                  <a:cubicBezTo>
                    <a:pt x="8075" y="513"/>
                    <a:pt x="8034" y="460"/>
                    <a:pt x="8034" y="387"/>
                  </a:cubicBezTo>
                  <a:cubicBezTo>
                    <a:pt x="8034" y="310"/>
                    <a:pt x="8097" y="227"/>
                    <a:pt x="8252" y="227"/>
                  </a:cubicBezTo>
                  <a:cubicBezTo>
                    <a:pt x="8340" y="227"/>
                    <a:pt x="8407" y="255"/>
                    <a:pt x="8443" y="272"/>
                  </a:cubicBezTo>
                  <a:cubicBezTo>
                    <a:pt x="8462" y="280"/>
                    <a:pt x="8504" y="300"/>
                    <a:pt x="8543" y="300"/>
                  </a:cubicBezTo>
                  <a:cubicBezTo>
                    <a:pt x="8595" y="300"/>
                    <a:pt x="8652" y="263"/>
                    <a:pt x="8652" y="188"/>
                  </a:cubicBezTo>
                  <a:cubicBezTo>
                    <a:pt x="8652" y="125"/>
                    <a:pt x="8607" y="92"/>
                    <a:pt x="8567" y="73"/>
                  </a:cubicBezTo>
                  <a:cubicBezTo>
                    <a:pt x="8504" y="43"/>
                    <a:pt x="8404" y="0"/>
                    <a:pt x="8240" y="0"/>
                  </a:cubicBezTo>
                  <a:cubicBezTo>
                    <a:pt x="7979" y="0"/>
                    <a:pt x="7785" y="165"/>
                    <a:pt x="7785" y="395"/>
                  </a:cubicBezTo>
                  <a:cubicBezTo>
                    <a:pt x="7785" y="605"/>
                    <a:pt x="7927" y="710"/>
                    <a:pt x="8097" y="792"/>
                  </a:cubicBezTo>
                  <a:cubicBezTo>
                    <a:pt x="8130" y="807"/>
                    <a:pt x="8257" y="868"/>
                    <a:pt x="8292" y="885"/>
                  </a:cubicBezTo>
                  <a:cubicBezTo>
                    <a:pt x="8398" y="937"/>
                    <a:pt x="8455" y="987"/>
                    <a:pt x="8455" y="1077"/>
                  </a:cubicBezTo>
                  <a:cubicBezTo>
                    <a:pt x="8455" y="1175"/>
                    <a:pt x="8364" y="1257"/>
                    <a:pt x="8225" y="1257"/>
                  </a:cubicBezTo>
                  <a:cubicBezTo>
                    <a:pt x="8025" y="1257"/>
                    <a:pt x="7920" y="1127"/>
                    <a:pt x="7902" y="1105"/>
                  </a:cubicBezTo>
                  <a:lnTo>
                    <a:pt x="7727" y="1267"/>
                  </a:lnTo>
                  <a:close/>
                  <a:moveTo>
                    <a:pt x="2880" y="1267"/>
                  </a:moveTo>
                  <a:cubicBezTo>
                    <a:pt x="2910" y="1305"/>
                    <a:pt x="3049" y="1485"/>
                    <a:pt x="3354" y="1485"/>
                  </a:cubicBezTo>
                  <a:cubicBezTo>
                    <a:pt x="3654" y="1485"/>
                    <a:pt x="3857" y="1313"/>
                    <a:pt x="3857" y="1072"/>
                  </a:cubicBezTo>
                  <a:cubicBezTo>
                    <a:pt x="3857" y="913"/>
                    <a:pt x="3795" y="787"/>
                    <a:pt x="3560" y="673"/>
                  </a:cubicBezTo>
                  <a:cubicBezTo>
                    <a:pt x="3497" y="643"/>
                    <a:pt x="3322" y="558"/>
                    <a:pt x="3322" y="558"/>
                  </a:cubicBezTo>
                  <a:cubicBezTo>
                    <a:pt x="3229" y="513"/>
                    <a:pt x="3187" y="460"/>
                    <a:pt x="3187" y="387"/>
                  </a:cubicBezTo>
                  <a:cubicBezTo>
                    <a:pt x="3187" y="310"/>
                    <a:pt x="3250" y="227"/>
                    <a:pt x="3405" y="227"/>
                  </a:cubicBezTo>
                  <a:cubicBezTo>
                    <a:pt x="3493" y="227"/>
                    <a:pt x="3562" y="255"/>
                    <a:pt x="3597" y="272"/>
                  </a:cubicBezTo>
                  <a:cubicBezTo>
                    <a:pt x="3615" y="280"/>
                    <a:pt x="3657" y="300"/>
                    <a:pt x="3697" y="300"/>
                  </a:cubicBezTo>
                  <a:cubicBezTo>
                    <a:pt x="3749" y="300"/>
                    <a:pt x="3805" y="263"/>
                    <a:pt x="3805" y="188"/>
                  </a:cubicBezTo>
                  <a:cubicBezTo>
                    <a:pt x="3805" y="125"/>
                    <a:pt x="3760" y="92"/>
                    <a:pt x="3720" y="73"/>
                  </a:cubicBezTo>
                  <a:cubicBezTo>
                    <a:pt x="3657" y="43"/>
                    <a:pt x="3559" y="0"/>
                    <a:pt x="3393" y="0"/>
                  </a:cubicBezTo>
                  <a:cubicBezTo>
                    <a:pt x="3132" y="0"/>
                    <a:pt x="2939" y="165"/>
                    <a:pt x="2939" y="395"/>
                  </a:cubicBezTo>
                  <a:cubicBezTo>
                    <a:pt x="2939" y="605"/>
                    <a:pt x="3080" y="710"/>
                    <a:pt x="3250" y="792"/>
                  </a:cubicBezTo>
                  <a:cubicBezTo>
                    <a:pt x="3282" y="807"/>
                    <a:pt x="3409" y="868"/>
                    <a:pt x="3443" y="885"/>
                  </a:cubicBezTo>
                  <a:cubicBezTo>
                    <a:pt x="3552" y="937"/>
                    <a:pt x="3609" y="987"/>
                    <a:pt x="3609" y="1077"/>
                  </a:cubicBezTo>
                  <a:cubicBezTo>
                    <a:pt x="3609" y="1175"/>
                    <a:pt x="3517" y="1257"/>
                    <a:pt x="3379" y="1257"/>
                  </a:cubicBezTo>
                  <a:cubicBezTo>
                    <a:pt x="3180" y="1257"/>
                    <a:pt x="3074" y="1127"/>
                    <a:pt x="3055" y="1105"/>
                  </a:cubicBezTo>
                  <a:lnTo>
                    <a:pt x="2880" y="1267"/>
                  </a:lnTo>
                  <a:close/>
                  <a:moveTo>
                    <a:pt x="5023" y="0"/>
                  </a:moveTo>
                  <a:cubicBezTo>
                    <a:pt x="4952" y="0"/>
                    <a:pt x="4905" y="52"/>
                    <a:pt x="4905" y="113"/>
                  </a:cubicBezTo>
                  <a:lnTo>
                    <a:pt x="4905" y="1370"/>
                  </a:lnTo>
                  <a:cubicBezTo>
                    <a:pt x="4905" y="1433"/>
                    <a:pt x="4960" y="1483"/>
                    <a:pt x="5023" y="1483"/>
                  </a:cubicBezTo>
                  <a:cubicBezTo>
                    <a:pt x="5085" y="1483"/>
                    <a:pt x="5140" y="1433"/>
                    <a:pt x="5140" y="1370"/>
                  </a:cubicBezTo>
                  <a:lnTo>
                    <a:pt x="5140" y="463"/>
                  </a:lnTo>
                  <a:cubicBezTo>
                    <a:pt x="5140" y="463"/>
                    <a:pt x="5717" y="1200"/>
                    <a:pt x="5868" y="1395"/>
                  </a:cubicBezTo>
                  <a:cubicBezTo>
                    <a:pt x="5907" y="1443"/>
                    <a:pt x="5934" y="1485"/>
                    <a:pt x="6002" y="1485"/>
                  </a:cubicBezTo>
                  <a:cubicBezTo>
                    <a:pt x="6070" y="1485"/>
                    <a:pt x="6117" y="1435"/>
                    <a:pt x="6117" y="1372"/>
                  </a:cubicBezTo>
                  <a:lnTo>
                    <a:pt x="6117" y="10"/>
                  </a:lnTo>
                  <a:lnTo>
                    <a:pt x="5884" y="10"/>
                  </a:lnTo>
                  <a:lnTo>
                    <a:pt x="5884" y="1027"/>
                  </a:lnTo>
                  <a:cubicBezTo>
                    <a:pt x="5884" y="1027"/>
                    <a:pt x="5242" y="203"/>
                    <a:pt x="5152" y="88"/>
                  </a:cubicBezTo>
                  <a:cubicBezTo>
                    <a:pt x="5110" y="35"/>
                    <a:pt x="5079" y="0"/>
                    <a:pt x="5023" y="0"/>
                  </a:cubicBezTo>
                  <a:close/>
                  <a:moveTo>
                    <a:pt x="882" y="682"/>
                  </a:moveTo>
                  <a:cubicBezTo>
                    <a:pt x="924" y="702"/>
                    <a:pt x="1099" y="777"/>
                    <a:pt x="1099" y="1037"/>
                  </a:cubicBezTo>
                  <a:cubicBezTo>
                    <a:pt x="1099" y="1283"/>
                    <a:pt x="915" y="1475"/>
                    <a:pt x="652" y="1475"/>
                  </a:cubicBezTo>
                  <a:lnTo>
                    <a:pt x="0" y="1475"/>
                  </a:lnTo>
                  <a:lnTo>
                    <a:pt x="0" y="122"/>
                  </a:lnTo>
                  <a:cubicBezTo>
                    <a:pt x="0" y="53"/>
                    <a:pt x="47" y="7"/>
                    <a:pt x="115" y="7"/>
                  </a:cubicBezTo>
                  <a:lnTo>
                    <a:pt x="622" y="7"/>
                  </a:lnTo>
                  <a:cubicBezTo>
                    <a:pt x="868" y="7"/>
                    <a:pt x="1030" y="155"/>
                    <a:pt x="1030" y="380"/>
                  </a:cubicBezTo>
                  <a:cubicBezTo>
                    <a:pt x="1030" y="572"/>
                    <a:pt x="922" y="657"/>
                    <a:pt x="882" y="682"/>
                  </a:cubicBezTo>
                  <a:moveTo>
                    <a:pt x="237" y="595"/>
                  </a:moveTo>
                  <a:lnTo>
                    <a:pt x="592" y="595"/>
                  </a:lnTo>
                  <a:cubicBezTo>
                    <a:pt x="718" y="595"/>
                    <a:pt x="790" y="515"/>
                    <a:pt x="790" y="417"/>
                  </a:cubicBezTo>
                  <a:cubicBezTo>
                    <a:pt x="790" y="318"/>
                    <a:pt x="725" y="238"/>
                    <a:pt x="592" y="238"/>
                  </a:cubicBezTo>
                  <a:lnTo>
                    <a:pt x="237" y="238"/>
                  </a:lnTo>
                  <a:lnTo>
                    <a:pt x="237" y="595"/>
                  </a:lnTo>
                  <a:close/>
                  <a:moveTo>
                    <a:pt x="607" y="1250"/>
                  </a:moveTo>
                  <a:cubicBezTo>
                    <a:pt x="774" y="1250"/>
                    <a:pt x="859" y="1152"/>
                    <a:pt x="859" y="1032"/>
                  </a:cubicBezTo>
                  <a:cubicBezTo>
                    <a:pt x="859" y="910"/>
                    <a:pt x="777" y="812"/>
                    <a:pt x="607" y="812"/>
                  </a:cubicBezTo>
                  <a:lnTo>
                    <a:pt x="237" y="812"/>
                  </a:lnTo>
                  <a:lnTo>
                    <a:pt x="237" y="1250"/>
                  </a:lnTo>
                  <a:lnTo>
                    <a:pt x="607" y="1250"/>
                  </a:lnTo>
                  <a:close/>
                  <a:moveTo>
                    <a:pt x="7367" y="240"/>
                  </a:moveTo>
                  <a:cubicBezTo>
                    <a:pt x="7445" y="240"/>
                    <a:pt x="7492" y="190"/>
                    <a:pt x="7492" y="125"/>
                  </a:cubicBezTo>
                  <a:cubicBezTo>
                    <a:pt x="7492" y="60"/>
                    <a:pt x="7443" y="10"/>
                    <a:pt x="7367" y="10"/>
                  </a:cubicBezTo>
                  <a:lnTo>
                    <a:pt x="6642" y="10"/>
                  </a:lnTo>
                  <a:cubicBezTo>
                    <a:pt x="6575" y="10"/>
                    <a:pt x="6527" y="58"/>
                    <a:pt x="6527" y="125"/>
                  </a:cubicBezTo>
                  <a:lnTo>
                    <a:pt x="6527" y="1365"/>
                  </a:lnTo>
                  <a:cubicBezTo>
                    <a:pt x="6527" y="1430"/>
                    <a:pt x="6575" y="1478"/>
                    <a:pt x="6642" y="1478"/>
                  </a:cubicBezTo>
                  <a:lnTo>
                    <a:pt x="7484" y="1478"/>
                  </a:lnTo>
                  <a:lnTo>
                    <a:pt x="7484" y="1248"/>
                  </a:lnTo>
                  <a:lnTo>
                    <a:pt x="6764" y="1248"/>
                  </a:lnTo>
                  <a:lnTo>
                    <a:pt x="6764" y="822"/>
                  </a:lnTo>
                  <a:lnTo>
                    <a:pt x="7307" y="822"/>
                  </a:lnTo>
                  <a:cubicBezTo>
                    <a:pt x="7389" y="822"/>
                    <a:pt x="7435" y="773"/>
                    <a:pt x="7435" y="707"/>
                  </a:cubicBezTo>
                  <a:cubicBezTo>
                    <a:pt x="7435" y="640"/>
                    <a:pt x="7390" y="592"/>
                    <a:pt x="7307" y="592"/>
                  </a:cubicBezTo>
                  <a:lnTo>
                    <a:pt x="6764" y="592"/>
                  </a:lnTo>
                  <a:lnTo>
                    <a:pt x="6764" y="240"/>
                  </a:lnTo>
                  <a:lnTo>
                    <a:pt x="7367" y="240"/>
                  </a:lnTo>
                  <a:close/>
                  <a:moveTo>
                    <a:pt x="1635" y="893"/>
                  </a:moveTo>
                  <a:lnTo>
                    <a:pt x="1635" y="115"/>
                  </a:lnTo>
                  <a:cubicBezTo>
                    <a:pt x="1635" y="52"/>
                    <a:pt x="1589" y="0"/>
                    <a:pt x="1517" y="0"/>
                  </a:cubicBezTo>
                  <a:cubicBezTo>
                    <a:pt x="1443" y="0"/>
                    <a:pt x="1399" y="52"/>
                    <a:pt x="1399" y="115"/>
                  </a:cubicBezTo>
                  <a:lnTo>
                    <a:pt x="1399" y="885"/>
                  </a:lnTo>
                  <a:cubicBezTo>
                    <a:pt x="1399" y="1215"/>
                    <a:pt x="1630" y="1483"/>
                    <a:pt x="2002" y="1483"/>
                  </a:cubicBezTo>
                  <a:cubicBezTo>
                    <a:pt x="2372" y="1483"/>
                    <a:pt x="2605" y="1215"/>
                    <a:pt x="2605" y="885"/>
                  </a:cubicBezTo>
                  <a:lnTo>
                    <a:pt x="2605" y="7"/>
                  </a:lnTo>
                  <a:lnTo>
                    <a:pt x="2367" y="7"/>
                  </a:lnTo>
                  <a:lnTo>
                    <a:pt x="2367" y="892"/>
                  </a:lnTo>
                  <a:cubicBezTo>
                    <a:pt x="2367" y="1087"/>
                    <a:pt x="2237" y="1260"/>
                    <a:pt x="2002" y="1260"/>
                  </a:cubicBezTo>
                  <a:cubicBezTo>
                    <a:pt x="1765" y="1262"/>
                    <a:pt x="1635" y="1088"/>
                    <a:pt x="1635" y="893"/>
                  </a:cubicBezTo>
                  <a:close/>
                  <a:moveTo>
                    <a:pt x="4320" y="0"/>
                  </a:moveTo>
                  <a:cubicBezTo>
                    <a:pt x="4393" y="0"/>
                    <a:pt x="4439" y="52"/>
                    <a:pt x="4439" y="115"/>
                  </a:cubicBezTo>
                  <a:lnTo>
                    <a:pt x="4439" y="1477"/>
                  </a:lnTo>
                  <a:lnTo>
                    <a:pt x="4202" y="1477"/>
                  </a:lnTo>
                  <a:lnTo>
                    <a:pt x="4202" y="115"/>
                  </a:lnTo>
                  <a:cubicBezTo>
                    <a:pt x="4202" y="52"/>
                    <a:pt x="4247" y="0"/>
                    <a:pt x="43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510270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_Main Blan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1BB618A-A314-46DD-A27C-3F307B4EDB4A}"/>
              </a:ext>
            </a:extLst>
          </p:cNvPr>
          <p:cNvSpPr>
            <a:spLocks noGrp="1"/>
          </p:cNvSpPr>
          <p:nvPr>
            <p:ph type="title" hasCustomPrompt="1"/>
          </p:nvPr>
        </p:nvSpPr>
        <p:spPr>
          <a:xfrm>
            <a:off x="457200" y="2548520"/>
            <a:ext cx="10860578" cy="1569660"/>
          </a:xfrm>
          <a:prstGeom prst="rect">
            <a:avLst/>
          </a:prstGeom>
        </p:spPr>
        <p:txBody>
          <a:bodyPr lIns="0" tIns="0" rIns="0" bIns="0" anchor="b">
            <a:spAutoFit/>
          </a:bodyPr>
          <a:lstStyle>
            <a:lvl1pPr algn="l">
              <a:lnSpc>
                <a:spcPct val="85000"/>
              </a:lnSpc>
              <a:defRPr sz="6000" b="1" i="0" baseline="0"/>
            </a:lvl1pPr>
          </a:lstStyle>
          <a:p>
            <a:r>
              <a:rPr lang="en-US"/>
              <a:t>Click to edit </a:t>
            </a:r>
            <a:br>
              <a:rPr lang="en-US"/>
            </a:br>
            <a:r>
              <a:rPr lang="en-US"/>
              <a:t>Master title style</a:t>
            </a:r>
          </a:p>
        </p:txBody>
      </p:sp>
      <p:sp>
        <p:nvSpPr>
          <p:cNvPr id="4" name="Text Placeholder 3">
            <a:extLst>
              <a:ext uri="{FF2B5EF4-FFF2-40B4-BE49-F238E27FC236}">
                <a16:creationId xmlns:a16="http://schemas.microsoft.com/office/drawing/2014/main" id="{5CFCF76A-EE8C-44A2-80ED-CF97852962E3}"/>
              </a:ext>
            </a:extLst>
          </p:cNvPr>
          <p:cNvSpPr>
            <a:spLocks noGrp="1"/>
          </p:cNvSpPr>
          <p:nvPr>
            <p:ph type="body" sz="quarter" idx="10" hasCustomPrompt="1"/>
          </p:nvPr>
        </p:nvSpPr>
        <p:spPr>
          <a:xfrm>
            <a:off x="457200" y="4165260"/>
            <a:ext cx="10909069" cy="573555"/>
          </a:xfrm>
          <a:prstGeom prst="rect">
            <a:avLst/>
          </a:prstGeom>
        </p:spPr>
        <p:txBody>
          <a:bodyPr lIns="0" tIns="0" rIns="0" bIns="0">
            <a:spAutoFit/>
          </a:bodyPr>
          <a:lstStyle>
            <a:lvl1pPr marL="0" indent="0" algn="l">
              <a:buNone/>
              <a:defRPr sz="3200" b="0" i="0" baseline="0">
                <a:solidFill>
                  <a:schemeClr val="accent2"/>
                </a:solidFill>
                <a:latin typeface="Arial" panose="020B0604020202020204" pitchFamily="34" charset="0"/>
              </a:defRPr>
            </a:lvl1pPr>
            <a:lvl2pPr algn="l">
              <a:defRPr sz="3200" b="0" i="0" baseline="0">
                <a:solidFill>
                  <a:schemeClr val="bg1"/>
                </a:solidFill>
                <a:latin typeface="Arial" panose="020B0604020202020204" pitchFamily="34" charset="0"/>
              </a:defRPr>
            </a:lvl2pPr>
            <a:lvl3pPr algn="l">
              <a:defRPr sz="3200" b="0" i="0" baseline="0">
                <a:solidFill>
                  <a:schemeClr val="bg1"/>
                </a:solidFill>
                <a:latin typeface="Arial" panose="020B0604020202020204" pitchFamily="34" charset="0"/>
              </a:defRPr>
            </a:lvl3pPr>
            <a:lvl4pPr algn="l">
              <a:defRPr sz="3200" b="0" i="0" baseline="0">
                <a:solidFill>
                  <a:schemeClr val="bg1"/>
                </a:solidFill>
                <a:latin typeface="Arial" panose="020B0604020202020204" pitchFamily="34" charset="0"/>
              </a:defRPr>
            </a:lvl4pPr>
            <a:lvl5pPr algn="l">
              <a:defRPr sz="3200" b="0" i="0" baseline="0">
                <a:solidFill>
                  <a:schemeClr val="bg1"/>
                </a:solidFill>
                <a:latin typeface="Arial" panose="020B0604020202020204" pitchFamily="34" charset="0"/>
              </a:defRPr>
            </a:lvl5pPr>
          </a:lstStyle>
          <a:p>
            <a:pPr lvl="0"/>
            <a:r>
              <a:rPr lang="en-US"/>
              <a:t>Click to edit Master title</a:t>
            </a:r>
          </a:p>
        </p:txBody>
      </p:sp>
      <p:sp>
        <p:nvSpPr>
          <p:cNvPr id="5" name="Text Placeholder 3">
            <a:extLst>
              <a:ext uri="{FF2B5EF4-FFF2-40B4-BE49-F238E27FC236}">
                <a16:creationId xmlns:a16="http://schemas.microsoft.com/office/drawing/2014/main" id="{7848FBDE-CB6B-4D12-AFED-E9BBB4DDCF8B}"/>
              </a:ext>
            </a:extLst>
          </p:cNvPr>
          <p:cNvSpPr>
            <a:spLocks noGrp="1"/>
          </p:cNvSpPr>
          <p:nvPr>
            <p:ph type="body" sz="quarter" idx="11" hasCustomPrompt="1"/>
          </p:nvPr>
        </p:nvSpPr>
        <p:spPr>
          <a:xfrm>
            <a:off x="432955" y="5191006"/>
            <a:ext cx="10933314" cy="322652"/>
          </a:xfrm>
          <a:prstGeom prst="rect">
            <a:avLst/>
          </a:prstGeom>
        </p:spPr>
        <p:txBody>
          <a:bodyPr wrap="square" lIns="0" tIns="0" rIns="0" bIns="0">
            <a:spAutoFit/>
          </a:bodyPr>
          <a:lstStyle>
            <a:lvl1pPr marL="0" indent="0" algn="l">
              <a:buNone/>
              <a:defRPr sz="1800" b="1" i="0" baseline="0">
                <a:solidFill>
                  <a:schemeClr val="tx1"/>
                </a:solidFill>
                <a:latin typeface="Arial" panose="020B0604020202020204" pitchFamily="34" charset="0"/>
              </a:defRPr>
            </a:lvl1pPr>
            <a:lvl2pPr algn="l">
              <a:defRPr sz="3200" b="0" i="0" baseline="0">
                <a:solidFill>
                  <a:schemeClr val="bg1"/>
                </a:solidFill>
                <a:latin typeface="Arial" panose="020B0604020202020204" pitchFamily="34" charset="0"/>
              </a:defRPr>
            </a:lvl2pPr>
            <a:lvl3pPr algn="l">
              <a:defRPr sz="3200" b="0" i="0" baseline="0">
                <a:solidFill>
                  <a:schemeClr val="bg1"/>
                </a:solidFill>
                <a:latin typeface="Arial" panose="020B0604020202020204" pitchFamily="34" charset="0"/>
              </a:defRPr>
            </a:lvl3pPr>
            <a:lvl4pPr algn="l">
              <a:defRPr sz="3200" b="0" i="0" baseline="0">
                <a:solidFill>
                  <a:schemeClr val="bg1"/>
                </a:solidFill>
                <a:latin typeface="Arial" panose="020B0604020202020204" pitchFamily="34" charset="0"/>
              </a:defRPr>
            </a:lvl4pPr>
            <a:lvl5pPr algn="l">
              <a:defRPr sz="3200" b="0" i="0" baseline="0">
                <a:solidFill>
                  <a:schemeClr val="bg1"/>
                </a:solidFill>
                <a:latin typeface="Arial" panose="020B0604020202020204" pitchFamily="34" charset="0"/>
              </a:defRPr>
            </a:lvl5pPr>
          </a:lstStyle>
          <a:p>
            <a:pPr lvl="0"/>
            <a:r>
              <a:rPr lang="en-US"/>
              <a:t>Click to edit Content</a:t>
            </a:r>
          </a:p>
        </p:txBody>
      </p:sp>
    </p:spTree>
    <p:extLst>
      <p:ext uri="{BB962C8B-B14F-4D97-AF65-F5344CB8AC3E}">
        <p14:creationId xmlns:p14="http://schemas.microsoft.com/office/powerpoint/2010/main" val="36205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hasCustomPrompt="1"/>
          </p:nvPr>
        </p:nvSpPr>
        <p:spPr>
          <a:xfrm>
            <a:off x="472440" y="1449238"/>
            <a:ext cx="11247120" cy="4715025"/>
          </a:xfrm>
          <a:prstGeom prst="rect">
            <a:avLst/>
          </a:prstGeom>
        </p:spPr>
        <p:txBody>
          <a:bodyPr lIns="0" tIns="0" rIns="0" bIns="0"/>
          <a:lstStyle>
            <a:lvl1pPr algn="l">
              <a:lnSpc>
                <a:spcPct val="110000"/>
              </a:lnSpc>
              <a:spcBef>
                <a:spcPts val="0"/>
              </a:spcBef>
              <a:spcAft>
                <a:spcPts val="1000"/>
              </a:spcAft>
              <a:defRPr sz="1400">
                <a:solidFill>
                  <a:schemeClr val="tx2"/>
                </a:solidFill>
                <a:latin typeface="+mj-lt"/>
              </a:defRPr>
            </a:lvl1pPr>
            <a:lvl2pPr marL="173038" indent="-173038" algn="l">
              <a:lnSpc>
                <a:spcPct val="110000"/>
              </a:lnSpc>
              <a:spcBef>
                <a:spcPts val="0"/>
              </a:spcBef>
              <a:spcAft>
                <a:spcPts val="1000"/>
              </a:spcAft>
              <a:buFont typeface="Arial" panose="020B0604020202020204" pitchFamily="34" charset="0"/>
              <a:buChar char="•"/>
              <a:defRPr sz="1400">
                <a:solidFill>
                  <a:schemeClr val="tx2"/>
                </a:solidFill>
                <a:latin typeface="+mj-lt"/>
              </a:defRPr>
            </a:lvl2pPr>
            <a:lvl3pPr marL="344488" indent="-171450" algn="l">
              <a:lnSpc>
                <a:spcPct val="110000"/>
              </a:lnSpc>
              <a:spcBef>
                <a:spcPts val="0"/>
              </a:spcBef>
              <a:spcAft>
                <a:spcPts val="1000"/>
              </a:spcAft>
              <a:buFont typeface="Arial" panose="020B0604020202020204" pitchFamily="34" charset="0"/>
              <a:buChar char="-"/>
              <a:defRPr sz="1400">
                <a:solidFill>
                  <a:schemeClr val="tx2"/>
                </a:solidFill>
                <a:latin typeface="+mj-lt"/>
              </a:defRPr>
            </a:lvl3pPr>
            <a:lvl4pPr marL="511175" indent="-166688" algn="l">
              <a:lnSpc>
                <a:spcPct val="110000"/>
              </a:lnSpc>
              <a:spcBef>
                <a:spcPts val="0"/>
              </a:spcBef>
              <a:spcAft>
                <a:spcPts val="1000"/>
              </a:spcAft>
              <a:buFont typeface="Arial" panose="020B0604020202020204" pitchFamily="34" charset="0"/>
              <a:buChar char="-"/>
              <a:defRPr sz="1400">
                <a:solidFill>
                  <a:schemeClr val="tx2"/>
                </a:solidFill>
                <a:latin typeface="+mj-lt"/>
              </a:defRPr>
            </a:lvl4pPr>
            <a:lvl5pPr marL="796925" indent="-285750" algn="l">
              <a:lnSpc>
                <a:spcPct val="110000"/>
              </a:lnSpc>
              <a:spcBef>
                <a:spcPts val="0"/>
              </a:spcBef>
              <a:spcAft>
                <a:spcPts val="1000"/>
              </a:spcAft>
              <a:buFont typeface="Arial" panose="020B0604020202020204" pitchFamily="34" charset="0"/>
              <a:buChar char="•"/>
              <a:defRPr sz="1400">
                <a:solidFill>
                  <a:schemeClr val="tx2"/>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00495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3FEAB6-B0ED-45C1-BC37-9D92F6B30BE6}"/>
              </a:ext>
            </a:extLst>
          </p:cNvPr>
          <p:cNvSpPr>
            <a:spLocks noGrp="1"/>
          </p:cNvSpPr>
          <p:nvPr>
            <p:ph sz="half" idx="1" hasCustomPrompt="1"/>
          </p:nvPr>
        </p:nvSpPr>
        <p:spPr>
          <a:xfrm>
            <a:off x="445207"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4334255"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p>
            <a:r>
              <a:rPr lang="en-US" dirty="0"/>
              <a:t>© 2024 Comcast. All rights reserved.</a:t>
            </a:r>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p>
            <a:fld id="{A07A7439-3E0E-4A6B-9524-3A8EBA819993}" type="slidenum">
              <a:rPr lang="en-US" smtClean="0"/>
              <a:t>‹#›</a:t>
            </a:fld>
            <a:endParaRPr lang="en-US"/>
          </a:p>
        </p:txBody>
      </p:sp>
      <p:sp>
        <p:nvSpPr>
          <p:cNvPr id="8" name="Content Placeholder 3">
            <a:extLst>
              <a:ext uri="{FF2B5EF4-FFF2-40B4-BE49-F238E27FC236}">
                <a16:creationId xmlns:a16="http://schemas.microsoft.com/office/drawing/2014/main" id="{AB7BE119-4BE0-4EFE-876C-84493FD13122}"/>
              </a:ext>
            </a:extLst>
          </p:cNvPr>
          <p:cNvSpPr>
            <a:spLocks noGrp="1"/>
          </p:cNvSpPr>
          <p:nvPr>
            <p:ph sz="half" idx="13" hasCustomPrompt="1"/>
          </p:nvPr>
        </p:nvSpPr>
        <p:spPr>
          <a:xfrm>
            <a:off x="8211310" y="1673352"/>
            <a:ext cx="3520440" cy="4663440"/>
          </a:xfrm>
        </p:spPr>
        <p:txBody>
          <a:bodyPr/>
          <a:lstStyle>
            <a:lvl1pPr>
              <a:defRPr sz="1800"/>
            </a:lvl1pPr>
            <a:lvl2pPr>
              <a:defRPr sz="1600"/>
            </a:lvl2pPr>
            <a:lvl3pPr>
              <a:defRPr sz="1400"/>
            </a:lvl3pPr>
            <a:lvl4pPr>
              <a:defRPr sz="1200"/>
            </a:lvl4pPr>
            <a:lvl5pPr>
              <a:defRPr/>
            </a:lvl5pPr>
          </a:lstStyle>
          <a:p>
            <a:pPr lvl="0"/>
            <a:r>
              <a:rPr lang="en-US"/>
              <a:t>First level, 18pt Regular</a:t>
            </a:r>
          </a:p>
          <a:p>
            <a:pPr lvl="1"/>
            <a:r>
              <a:rPr lang="en-US"/>
              <a:t>Second level, 16pt</a:t>
            </a:r>
          </a:p>
          <a:p>
            <a:pPr lvl="2"/>
            <a:r>
              <a:rPr lang="en-US"/>
              <a:t>Third level, 14pt</a:t>
            </a:r>
          </a:p>
          <a:p>
            <a:pPr lvl="3"/>
            <a:r>
              <a:rPr lang="en-US"/>
              <a:t>Fourth level, 12pt</a:t>
            </a:r>
          </a:p>
          <a:p>
            <a:pPr lvl="4"/>
            <a:r>
              <a:rPr lang="en-US"/>
              <a:t>Fifth level, 12pt Bold, use for captions</a:t>
            </a:r>
          </a:p>
        </p:txBody>
      </p:sp>
      <p:sp>
        <p:nvSpPr>
          <p:cNvPr id="47" name="Title Placeholder 1">
            <a:extLst>
              <a:ext uri="{FF2B5EF4-FFF2-40B4-BE49-F238E27FC236}">
                <a16:creationId xmlns:a16="http://schemas.microsoft.com/office/drawing/2014/main" id="{2AEFFB7E-9424-FF4B-B0A4-05A2C6AB750D}"/>
              </a:ext>
            </a:extLst>
          </p:cNvPr>
          <p:cNvSpPr>
            <a:spLocks noGrp="1"/>
          </p:cNvSpPr>
          <p:nvPr>
            <p:ph type="title"/>
          </p:nvPr>
        </p:nvSpPr>
        <p:spPr>
          <a:xfrm>
            <a:off x="429488" y="429942"/>
            <a:ext cx="9644637" cy="822960"/>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7400468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41" y="1449240"/>
            <a:ext cx="3558868" cy="4715025"/>
          </a:xfrm>
          <a:prstGeom prst="rect">
            <a:avLst/>
          </a:prstGeom>
        </p:spPr>
        <p:txBody>
          <a:bodyPr lIns="0" tIns="0" rIns="0" bIns="0"/>
          <a:lstStyle>
            <a:lvl1pPr marL="182875"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1pPr>
            <a:lvl2pPr marL="182875" indent="-182875" algn="l">
              <a:spcBef>
                <a:spcPts val="0"/>
              </a:spcBef>
              <a:spcAft>
                <a:spcPts val="1000"/>
              </a:spcAft>
              <a:buFont typeface="Arial" panose="020B0604020202020204" pitchFamily="34" charset="0"/>
              <a:buChar char="•"/>
              <a:defRPr sz="1400">
                <a:solidFill>
                  <a:schemeClr val="tx1"/>
                </a:solidFill>
                <a:latin typeface="+mj-lt"/>
              </a:defRPr>
            </a:lvl2pPr>
            <a:lvl3pPr marL="365751"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48626"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731502"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6" name="Text Placeholder 7">
            <a:extLst>
              <a:ext uri="{FF2B5EF4-FFF2-40B4-BE49-F238E27FC236}">
                <a16:creationId xmlns:a16="http://schemas.microsoft.com/office/drawing/2014/main" id="{8BBE4EBF-4A28-42C8-850D-855B28CA08B3}"/>
              </a:ext>
            </a:extLst>
          </p:cNvPr>
          <p:cNvSpPr>
            <a:spLocks noGrp="1"/>
          </p:cNvSpPr>
          <p:nvPr>
            <p:ph type="body" sz="quarter" idx="11"/>
          </p:nvPr>
        </p:nvSpPr>
        <p:spPr>
          <a:xfrm>
            <a:off x="8160693" y="1449238"/>
            <a:ext cx="3558868" cy="4715025"/>
          </a:xfrm>
          <a:prstGeom prst="rect">
            <a:avLst/>
          </a:prstGeom>
        </p:spPr>
        <p:txBody>
          <a:bodyPr lIns="0" tIns="0" rIns="0" bIns="0"/>
          <a:lstStyle>
            <a:lvl1pPr marL="182875"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1pPr>
            <a:lvl2pPr marL="182875" indent="-182875" algn="l">
              <a:spcBef>
                <a:spcPts val="0"/>
              </a:spcBef>
              <a:spcAft>
                <a:spcPts val="1000"/>
              </a:spcAft>
              <a:buFont typeface="Arial" panose="020B0604020202020204" pitchFamily="34" charset="0"/>
              <a:buChar char="•"/>
              <a:defRPr sz="1400">
                <a:solidFill>
                  <a:schemeClr val="tx1"/>
                </a:solidFill>
                <a:latin typeface="+mj-lt"/>
              </a:defRPr>
            </a:lvl2pPr>
            <a:lvl3pPr marL="365751"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48626"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731502"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7" name="Text Placeholder 7">
            <a:extLst>
              <a:ext uri="{FF2B5EF4-FFF2-40B4-BE49-F238E27FC236}">
                <a16:creationId xmlns:a16="http://schemas.microsoft.com/office/drawing/2014/main" id="{AB45AB20-4524-48BB-9AFA-EB47C74FC94F}"/>
              </a:ext>
            </a:extLst>
          </p:cNvPr>
          <p:cNvSpPr>
            <a:spLocks noGrp="1"/>
          </p:cNvSpPr>
          <p:nvPr>
            <p:ph type="body" sz="quarter" idx="12"/>
          </p:nvPr>
        </p:nvSpPr>
        <p:spPr>
          <a:xfrm>
            <a:off x="4316567" y="1449238"/>
            <a:ext cx="3558868" cy="4715025"/>
          </a:xfrm>
          <a:prstGeom prst="rect">
            <a:avLst/>
          </a:prstGeom>
        </p:spPr>
        <p:txBody>
          <a:bodyPr lIns="0" tIns="0" rIns="0" bIns="0"/>
          <a:lstStyle>
            <a:lvl1pPr marL="182875"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1pPr>
            <a:lvl2pPr marL="182875" indent="-182875" algn="l">
              <a:spcBef>
                <a:spcPts val="0"/>
              </a:spcBef>
              <a:spcAft>
                <a:spcPts val="1000"/>
              </a:spcAft>
              <a:buFont typeface="Arial" panose="020B0604020202020204" pitchFamily="34" charset="0"/>
              <a:buChar char="•"/>
              <a:defRPr sz="1400">
                <a:solidFill>
                  <a:schemeClr val="tx1"/>
                </a:solidFill>
                <a:latin typeface="+mj-lt"/>
              </a:defRPr>
            </a:lvl2pPr>
            <a:lvl3pPr marL="365751"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48626"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731502" indent="-182875"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32665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162427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2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256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Main 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92413D-8710-44A7-A656-29F4FEA16B54}"/>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1CE9C83E-2AE6-4E6F-BCD1-413B2B24F1ED}"/>
              </a:ext>
            </a:extLst>
          </p:cNvPr>
          <p:cNvSpPr>
            <a:spLocks noGrp="1"/>
          </p:cNvSpPr>
          <p:nvPr>
            <p:ph type="body" sz="quarter" idx="10"/>
          </p:nvPr>
        </p:nvSpPr>
        <p:spPr>
          <a:xfrm>
            <a:off x="472439" y="1449238"/>
            <a:ext cx="5423863" cy="4715025"/>
          </a:xfrm>
          <a:prstGeom prst="rect">
            <a:avLst/>
          </a:prstGeom>
        </p:spPr>
        <p:txBody>
          <a:bodyPr lIns="0" tIns="0" rIns="0" bIns="0"/>
          <a:lstStyle>
            <a:lvl1pPr marL="18288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1pPr>
            <a:lvl2pPr marL="182880" indent="-182880" algn="l">
              <a:spcBef>
                <a:spcPts val="0"/>
              </a:spcBef>
              <a:spcAft>
                <a:spcPts val="1000"/>
              </a:spcAft>
              <a:buFont typeface="Arial" panose="020B0604020202020204" pitchFamily="34" charset="0"/>
              <a:buChar char="•"/>
              <a:defRPr sz="1400">
                <a:solidFill>
                  <a:schemeClr val="tx1"/>
                </a:solidFill>
                <a:latin typeface="+mj-lt"/>
              </a:defRPr>
            </a:lvl2pPr>
            <a:lvl3pPr marL="36576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4864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73152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
        <p:nvSpPr>
          <p:cNvPr id="6" name="Text Placeholder 7">
            <a:extLst>
              <a:ext uri="{FF2B5EF4-FFF2-40B4-BE49-F238E27FC236}">
                <a16:creationId xmlns:a16="http://schemas.microsoft.com/office/drawing/2014/main" id="{8BBE4EBF-4A28-42C8-850D-855B28CA08B3}"/>
              </a:ext>
            </a:extLst>
          </p:cNvPr>
          <p:cNvSpPr>
            <a:spLocks noGrp="1"/>
          </p:cNvSpPr>
          <p:nvPr>
            <p:ph type="body" sz="quarter" idx="11"/>
          </p:nvPr>
        </p:nvSpPr>
        <p:spPr>
          <a:xfrm>
            <a:off x="6295697" y="1449237"/>
            <a:ext cx="5423863" cy="4715025"/>
          </a:xfrm>
          <a:prstGeom prst="rect">
            <a:avLst/>
          </a:prstGeom>
        </p:spPr>
        <p:txBody>
          <a:bodyPr lIns="0" tIns="0" rIns="0" bIns="0"/>
          <a:lstStyle>
            <a:lvl1pPr marL="18288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1pPr>
            <a:lvl2pPr marL="182880" indent="-182880" algn="l">
              <a:spcBef>
                <a:spcPts val="0"/>
              </a:spcBef>
              <a:spcAft>
                <a:spcPts val="1000"/>
              </a:spcAft>
              <a:buFont typeface="Arial" panose="020B0604020202020204" pitchFamily="34" charset="0"/>
              <a:buChar char="•"/>
              <a:defRPr sz="1400">
                <a:solidFill>
                  <a:schemeClr val="tx1"/>
                </a:solidFill>
                <a:latin typeface="+mj-lt"/>
              </a:defRPr>
            </a:lvl2pPr>
            <a:lvl3pPr marL="36576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3pPr>
            <a:lvl4pPr marL="54864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4pPr>
            <a:lvl5pPr marL="731520" indent="-182880" algn="l">
              <a:lnSpc>
                <a:spcPct val="110000"/>
              </a:lnSpc>
              <a:spcBef>
                <a:spcPts val="0"/>
              </a:spcBef>
              <a:spcAft>
                <a:spcPts val="1000"/>
              </a:spcAft>
              <a:buFont typeface="Arial" panose="020B0604020202020204" pitchFamily="34" charset="0"/>
              <a:buChar char="-"/>
              <a:defRPr sz="1400">
                <a:solidFill>
                  <a:schemeClr val="tx1"/>
                </a:solidFill>
                <a:latin typeface="+mj-lt"/>
              </a:defRPr>
            </a:lvl5pPr>
          </a:lstStyle>
          <a:p>
            <a:pPr lvl="0"/>
            <a:r>
              <a:rPr lang="en-US"/>
              <a:t>Edit Master text styles</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116579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147F4B0-95A8-43DB-BFB5-8B095617379B}" type="slidenum">
              <a:rPr lang="en-US"/>
              <a:pPr>
                <a:defRPr/>
              </a:pPr>
              <a:t>‹#›</a:t>
            </a:fld>
            <a:endParaRPr lang="en-US"/>
          </a:p>
        </p:txBody>
      </p:sp>
      <p:sp>
        <p:nvSpPr>
          <p:cNvPr id="9" name="Freeform 8">
            <a:extLst>
              <a:ext uri="{FF2B5EF4-FFF2-40B4-BE49-F238E27FC236}">
                <a16:creationId xmlns:a16="http://schemas.microsoft.com/office/drawing/2014/main" id="{ACB0759A-FE16-52B0-954C-A43DA66BC1DD}"/>
              </a:ext>
            </a:extLst>
          </p:cNvPr>
          <p:cNvSpPr/>
          <p:nvPr userDrawn="1"/>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endParaRPr lang="en-US"/>
          </a:p>
        </p:txBody>
      </p:sp>
    </p:spTree>
    <p:extLst>
      <p:ext uri="{BB962C8B-B14F-4D97-AF65-F5344CB8AC3E}">
        <p14:creationId xmlns:p14="http://schemas.microsoft.com/office/powerpoint/2010/main" val="27075035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Tree>
    <p:extLst>
      <p:ext uri="{BB962C8B-B14F-4D97-AF65-F5344CB8AC3E}">
        <p14:creationId xmlns:p14="http://schemas.microsoft.com/office/powerpoint/2010/main" val="290079981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rgbClr val="000000"/>
                </a:solidFill>
                <a:latin typeface="Montserrat" panose="00000500000000000000" pitchFamily="2" charset="0"/>
              </a:rPr>
              <a:t>© 2024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614106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4"/>
        <p:cNvGrpSpPr/>
        <p:nvPr/>
      </p:nvGrpSpPr>
      <p:grpSpPr>
        <a:xfrm>
          <a:off x="0" y="0"/>
          <a:ext cx="0" cy="0"/>
          <a:chOff x="0" y="0"/>
          <a:chExt cx="0" cy="0"/>
        </a:xfrm>
      </p:grpSpPr>
      <p:sp>
        <p:nvSpPr>
          <p:cNvPr id="55" name="Google Shape;55;p9"/>
          <p:cNvSpPr txBox="1">
            <a:spLocks noGrp="1"/>
          </p:cNvSpPr>
          <p:nvPr>
            <p:ph type="title"/>
          </p:nvPr>
        </p:nvSpPr>
        <p:spPr>
          <a:xfrm>
            <a:off x="429488" y="685800"/>
            <a:ext cx="11305200" cy="822800"/>
          </a:xfrm>
          <a:prstGeom prst="rect">
            <a:avLst/>
          </a:prstGeom>
          <a:noFill/>
          <a:ln>
            <a:noFill/>
          </a:ln>
        </p:spPr>
        <p:txBody>
          <a:bodyPr spcFirstLastPara="1" wrap="square" lIns="0" tIns="0" rIns="0" bIns="0" anchor="t" anchorCtr="0">
            <a:noAutofit/>
          </a:bodyPr>
          <a:lstStyle>
            <a:lvl1pPr lvl="0" algn="l">
              <a:lnSpc>
                <a:spcPct val="95000"/>
              </a:lnSpc>
              <a:spcBef>
                <a:spcPts val="0"/>
              </a:spcBef>
              <a:spcAft>
                <a:spcPts val="0"/>
              </a:spcAft>
              <a:buClr>
                <a:schemeClr val="accent1"/>
              </a:buClr>
              <a:buSzPts val="2400"/>
              <a:buFont typeface="Montserrat Light"/>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6" name="Google Shape;56;p9"/>
          <p:cNvSpPr txBox="1">
            <a:spLocks noGrp="1"/>
          </p:cNvSpPr>
          <p:nvPr>
            <p:ph type="body" idx="1"/>
          </p:nvPr>
        </p:nvSpPr>
        <p:spPr>
          <a:xfrm>
            <a:off x="445208" y="1645920"/>
            <a:ext cx="11274400" cy="4663600"/>
          </a:xfrm>
          <a:prstGeom prst="rect">
            <a:avLst/>
          </a:prstGeom>
          <a:noFill/>
          <a:ln>
            <a:noFill/>
          </a:ln>
        </p:spPr>
        <p:txBody>
          <a:bodyPr spcFirstLastPara="1" wrap="square" lIns="0" tIns="0" rIns="0" bIns="0" anchor="t" anchorCtr="0">
            <a:noAutofit/>
          </a:bodyPr>
          <a:lstStyle>
            <a:lvl1pPr marL="609585" lvl="0" indent="-431789" algn="l">
              <a:lnSpc>
                <a:spcPct val="95000"/>
              </a:lnSpc>
              <a:spcBef>
                <a:spcPts val="1067"/>
              </a:spcBef>
              <a:spcAft>
                <a:spcPts val="0"/>
              </a:spcAft>
              <a:buClr>
                <a:schemeClr val="dk1"/>
              </a:buClr>
              <a:buSzPts val="1500"/>
              <a:buChar char="•"/>
              <a:defRPr/>
            </a:lvl1pPr>
            <a:lvl2pPr marL="1219170" lvl="1" indent="-423323" algn="l">
              <a:lnSpc>
                <a:spcPct val="90000"/>
              </a:lnSpc>
              <a:spcBef>
                <a:spcPts val="533"/>
              </a:spcBef>
              <a:spcAft>
                <a:spcPts val="0"/>
              </a:spcAft>
              <a:buClr>
                <a:schemeClr val="dk1"/>
              </a:buClr>
              <a:buSzPts val="1400"/>
              <a:buChar char="–"/>
              <a:defRPr/>
            </a:lvl2pPr>
            <a:lvl3pPr marL="1828754" lvl="2" indent="-406390" algn="l">
              <a:lnSpc>
                <a:spcPct val="90000"/>
              </a:lnSpc>
              <a:spcBef>
                <a:spcPts val="533"/>
              </a:spcBef>
              <a:spcAft>
                <a:spcPts val="0"/>
              </a:spcAft>
              <a:buClr>
                <a:schemeClr val="dk1"/>
              </a:buClr>
              <a:buSzPts val="1200"/>
              <a:buChar char="•"/>
              <a:defRPr/>
            </a:lvl3pPr>
            <a:lvl4pPr marL="2438339" lvl="3" indent="-397923" algn="l">
              <a:lnSpc>
                <a:spcPct val="90000"/>
              </a:lnSpc>
              <a:spcBef>
                <a:spcPts val="533"/>
              </a:spcBef>
              <a:spcAft>
                <a:spcPts val="0"/>
              </a:spcAft>
              <a:buClr>
                <a:schemeClr val="dk1"/>
              </a:buClr>
              <a:buSzPts val="1100"/>
              <a:buChar char="–"/>
              <a:defRPr/>
            </a:lvl4pPr>
            <a:lvl5pPr marL="3047924" lvl="4" indent="-304792" algn="l">
              <a:lnSpc>
                <a:spcPct val="90000"/>
              </a:lnSpc>
              <a:spcBef>
                <a:spcPts val="533"/>
              </a:spcBef>
              <a:spcAft>
                <a:spcPts val="0"/>
              </a:spcAft>
              <a:buClr>
                <a:schemeClr val="dk1"/>
              </a:buClr>
              <a:buSzPts val="900"/>
              <a:buNone/>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57" name="Google Shape;57;p9"/>
          <p:cNvSpPr txBox="1">
            <a:spLocks noGrp="1"/>
          </p:cNvSpPr>
          <p:nvPr>
            <p:ph type="ftr" idx="11"/>
          </p:nvPr>
        </p:nvSpPr>
        <p:spPr>
          <a:xfrm>
            <a:off x="463296" y="6428059"/>
            <a:ext cx="4114800" cy="198400"/>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58" name="Google Shape;58;p9"/>
          <p:cNvSpPr txBox="1">
            <a:spLocks noGrp="1"/>
          </p:cNvSpPr>
          <p:nvPr>
            <p:ph type="sldNum" idx="12"/>
          </p:nvPr>
        </p:nvSpPr>
        <p:spPr>
          <a:xfrm>
            <a:off x="11341608" y="6423939"/>
            <a:ext cx="393200" cy="201200"/>
          </a:xfrm>
          <a:prstGeom prst="rect">
            <a:avLst/>
          </a:prstGeom>
          <a:noFill/>
          <a:ln>
            <a:noFill/>
          </a:ln>
        </p:spPr>
        <p:txBody>
          <a:bodyPr spcFirstLastPara="1" wrap="square" lIns="0" tIns="0" rIns="0" bIns="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59" name="Google Shape;59;p9"/>
          <p:cNvSpPr txBox="1">
            <a:spLocks noGrp="1"/>
          </p:cNvSpPr>
          <p:nvPr>
            <p:ph type="body" idx="2"/>
          </p:nvPr>
        </p:nvSpPr>
        <p:spPr>
          <a:xfrm>
            <a:off x="457317" y="411480"/>
            <a:ext cx="6400800" cy="182800"/>
          </a:xfrm>
          <a:prstGeom prst="rect">
            <a:avLst/>
          </a:prstGeom>
          <a:noFill/>
          <a:ln>
            <a:noFill/>
          </a:ln>
        </p:spPr>
        <p:txBody>
          <a:bodyPr spcFirstLastPara="1" wrap="square" lIns="0" tIns="0" rIns="0" bIns="0" anchor="t" anchorCtr="0">
            <a:noAutofit/>
          </a:bodyPr>
          <a:lstStyle>
            <a:lvl1pPr marL="609585" lvl="0" indent="-304792" algn="l">
              <a:lnSpc>
                <a:spcPct val="95000"/>
              </a:lnSpc>
              <a:spcBef>
                <a:spcPts val="1067"/>
              </a:spcBef>
              <a:spcAft>
                <a:spcPts val="0"/>
              </a:spcAft>
              <a:buClr>
                <a:schemeClr val="accent1"/>
              </a:buClr>
              <a:buSzPts val="900"/>
              <a:buNone/>
              <a:defRPr sz="1200">
                <a:solidFill>
                  <a:schemeClr val="accent1"/>
                </a:solidFill>
              </a:defRPr>
            </a:lvl1pPr>
            <a:lvl2pPr marL="1219170" lvl="1" indent="-304792" algn="l">
              <a:lnSpc>
                <a:spcPct val="90000"/>
              </a:lnSpc>
              <a:spcBef>
                <a:spcPts val="533"/>
              </a:spcBef>
              <a:spcAft>
                <a:spcPts val="0"/>
              </a:spcAft>
              <a:buClr>
                <a:schemeClr val="dk1"/>
              </a:buClr>
              <a:buSzPts val="1400"/>
              <a:buNone/>
              <a:defRPr/>
            </a:lvl2pPr>
            <a:lvl3pPr marL="1828754" lvl="2" indent="-423323" algn="l">
              <a:lnSpc>
                <a:spcPct val="90000"/>
              </a:lnSpc>
              <a:spcBef>
                <a:spcPts val="533"/>
              </a:spcBef>
              <a:spcAft>
                <a:spcPts val="0"/>
              </a:spcAft>
              <a:buClr>
                <a:schemeClr val="dk1"/>
              </a:buClr>
              <a:buSzPts val="1400"/>
              <a:buChar char="•"/>
              <a:defRPr/>
            </a:lvl3pPr>
            <a:lvl4pPr marL="2438339" lvl="3" indent="-423323" algn="l">
              <a:lnSpc>
                <a:spcPct val="90000"/>
              </a:lnSpc>
              <a:spcBef>
                <a:spcPts val="533"/>
              </a:spcBef>
              <a:spcAft>
                <a:spcPts val="0"/>
              </a:spcAft>
              <a:buClr>
                <a:schemeClr val="dk1"/>
              </a:buClr>
              <a:buSzPts val="1400"/>
              <a:buChar char="–"/>
              <a:defRPr/>
            </a:lvl4pPr>
            <a:lvl5pPr marL="3047924" lvl="4" indent="-304792" algn="l">
              <a:lnSpc>
                <a:spcPct val="90000"/>
              </a:lnSpc>
              <a:spcBef>
                <a:spcPts val="533"/>
              </a:spcBef>
              <a:spcAft>
                <a:spcPts val="0"/>
              </a:spcAft>
              <a:buClr>
                <a:schemeClr val="dk1"/>
              </a:buClr>
              <a:buSzPts val="1400"/>
              <a:buNone/>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8554177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417"/>
        <p:cNvGrpSpPr/>
        <p:nvPr/>
      </p:nvGrpSpPr>
      <p:grpSpPr>
        <a:xfrm>
          <a:off x="0" y="0"/>
          <a:ext cx="0" cy="0"/>
          <a:chOff x="0" y="0"/>
          <a:chExt cx="0" cy="0"/>
        </a:xfrm>
      </p:grpSpPr>
      <p:sp>
        <p:nvSpPr>
          <p:cNvPr id="418" name="Google Shape;418;p104"/>
          <p:cNvSpPr txBox="1">
            <a:spLocks noGrp="1"/>
          </p:cNvSpPr>
          <p:nvPr>
            <p:ph type="title"/>
          </p:nvPr>
        </p:nvSpPr>
        <p:spPr>
          <a:xfrm>
            <a:off x="1438146" y="0"/>
            <a:ext cx="9915653"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3"/>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 name="Google Shape;419;p10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accent3"/>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420" name="Google Shape;420;p104"/>
          <p:cNvSpPr txBox="1">
            <a:spLocks noGrp="1"/>
          </p:cNvSpPr>
          <p:nvPr>
            <p:ph type="ftr" idx="11"/>
          </p:nvPr>
        </p:nvSpPr>
        <p:spPr>
          <a:xfrm>
            <a:off x="1759527" y="6356350"/>
            <a:ext cx="6393873" cy="365125"/>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sz="1000">
                <a:solidFill>
                  <a:schemeClr val="accent3"/>
                </a:solidFill>
                <a:latin typeface="Montserrat"/>
                <a:ea typeface="Montserrat"/>
                <a:cs typeface="Montserrat"/>
                <a:sym typeface="Montserra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48476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 Center">
  <p:cSld name="Title Only - Center">
    <p:bg>
      <p:bgPr>
        <a:blipFill>
          <a:blip r:embed="rId2">
            <a:alphaModFix/>
          </a:blip>
          <a:stretch>
            <a:fillRect/>
          </a:stretch>
        </a:blipFill>
        <a:effectLst/>
      </p:bgPr>
    </p:bg>
    <p:spTree>
      <p:nvGrpSpPr>
        <p:cNvPr id="1" name="Shape 195"/>
        <p:cNvGrpSpPr/>
        <p:nvPr/>
      </p:nvGrpSpPr>
      <p:grpSpPr>
        <a:xfrm>
          <a:off x="0" y="0"/>
          <a:ext cx="0" cy="0"/>
          <a:chOff x="0" y="0"/>
          <a:chExt cx="0" cy="0"/>
        </a:xfrm>
      </p:grpSpPr>
      <p:sp>
        <p:nvSpPr>
          <p:cNvPr id="196" name="Google Shape;196;p31"/>
          <p:cNvSpPr txBox="1">
            <a:spLocks noGrp="1"/>
          </p:cNvSpPr>
          <p:nvPr>
            <p:ph type="title"/>
          </p:nvPr>
        </p:nvSpPr>
        <p:spPr>
          <a:xfrm>
            <a:off x="1778400" y="1090073"/>
            <a:ext cx="8635200" cy="928800"/>
          </a:xfrm>
          <a:prstGeom prst="rect">
            <a:avLst/>
          </a:prstGeom>
        </p:spPr>
        <p:txBody>
          <a:bodyPr spcFirstLastPara="1" wrap="square" lIns="0" tIns="0" rIns="0" bIns="0" anchor="b" anchorCtr="0">
            <a:noAutofit/>
          </a:bodyPr>
          <a:lstStyle>
            <a:lvl1pPr marL="0" marR="0" lvl="0" indent="0" algn="ctr" rtl="0">
              <a:lnSpc>
                <a:spcPct val="87000"/>
              </a:lnSpc>
              <a:spcBef>
                <a:spcPts val="0"/>
              </a:spcBef>
              <a:spcAft>
                <a:spcPts val="0"/>
              </a:spcAft>
              <a:buNone/>
              <a:defRPr sz="3200"/>
            </a:lvl1pPr>
            <a:lvl2pPr lvl="1" rtl="0">
              <a:spcBef>
                <a:spcPts val="0"/>
              </a:spcBef>
              <a:spcAft>
                <a:spcPts val="0"/>
              </a:spcAft>
              <a:buSzPts val="1100"/>
              <a:buNone/>
              <a:defRPr>
                <a:latin typeface="Roboto"/>
                <a:ea typeface="Roboto"/>
                <a:cs typeface="Roboto"/>
                <a:sym typeface="Roboto"/>
              </a:defRPr>
            </a:lvl2pPr>
            <a:lvl3pPr lvl="2" rtl="0">
              <a:spcBef>
                <a:spcPts val="0"/>
              </a:spcBef>
              <a:spcAft>
                <a:spcPts val="0"/>
              </a:spcAft>
              <a:buSzPts val="1100"/>
              <a:buNone/>
              <a:defRPr>
                <a:latin typeface="Roboto"/>
                <a:ea typeface="Roboto"/>
                <a:cs typeface="Roboto"/>
                <a:sym typeface="Roboto"/>
              </a:defRPr>
            </a:lvl3pPr>
            <a:lvl4pPr lvl="3" rtl="0">
              <a:spcBef>
                <a:spcPts val="0"/>
              </a:spcBef>
              <a:spcAft>
                <a:spcPts val="0"/>
              </a:spcAft>
              <a:buSzPts val="1100"/>
              <a:buNone/>
              <a:defRPr>
                <a:latin typeface="Roboto"/>
                <a:ea typeface="Roboto"/>
                <a:cs typeface="Roboto"/>
                <a:sym typeface="Roboto"/>
              </a:defRPr>
            </a:lvl4pPr>
            <a:lvl5pPr lvl="4" rtl="0">
              <a:spcBef>
                <a:spcPts val="0"/>
              </a:spcBef>
              <a:spcAft>
                <a:spcPts val="0"/>
              </a:spcAft>
              <a:buSzPts val="1100"/>
              <a:buNone/>
              <a:defRPr>
                <a:latin typeface="Roboto"/>
                <a:ea typeface="Roboto"/>
                <a:cs typeface="Roboto"/>
                <a:sym typeface="Roboto"/>
              </a:defRPr>
            </a:lvl5pPr>
            <a:lvl6pPr lvl="5" rtl="0">
              <a:spcBef>
                <a:spcPts val="0"/>
              </a:spcBef>
              <a:spcAft>
                <a:spcPts val="0"/>
              </a:spcAft>
              <a:buSzPts val="1100"/>
              <a:buNone/>
              <a:defRPr>
                <a:latin typeface="Roboto"/>
                <a:ea typeface="Roboto"/>
                <a:cs typeface="Roboto"/>
                <a:sym typeface="Roboto"/>
              </a:defRPr>
            </a:lvl6pPr>
            <a:lvl7pPr lvl="6" rtl="0">
              <a:spcBef>
                <a:spcPts val="0"/>
              </a:spcBef>
              <a:spcAft>
                <a:spcPts val="0"/>
              </a:spcAft>
              <a:buSzPts val="1100"/>
              <a:buNone/>
              <a:defRPr>
                <a:latin typeface="Roboto"/>
                <a:ea typeface="Roboto"/>
                <a:cs typeface="Roboto"/>
                <a:sym typeface="Roboto"/>
              </a:defRPr>
            </a:lvl7pPr>
            <a:lvl8pPr lvl="7" rtl="0">
              <a:spcBef>
                <a:spcPts val="0"/>
              </a:spcBef>
              <a:spcAft>
                <a:spcPts val="0"/>
              </a:spcAft>
              <a:buSzPts val="1100"/>
              <a:buNone/>
              <a:defRPr>
                <a:latin typeface="Roboto"/>
                <a:ea typeface="Roboto"/>
                <a:cs typeface="Roboto"/>
                <a:sym typeface="Roboto"/>
              </a:defRPr>
            </a:lvl8pPr>
            <a:lvl9pPr lvl="8" rtl="0">
              <a:spcBef>
                <a:spcPts val="0"/>
              </a:spcBef>
              <a:spcAft>
                <a:spcPts val="0"/>
              </a:spcAft>
              <a:buSzPts val="1100"/>
              <a:buNone/>
              <a:defRPr>
                <a:latin typeface="Roboto"/>
                <a:ea typeface="Roboto"/>
                <a:cs typeface="Roboto"/>
                <a:sym typeface="Roboto"/>
              </a:defRPr>
            </a:lvl9pPr>
          </a:lstStyle>
          <a:p>
            <a:endParaRPr/>
          </a:p>
        </p:txBody>
      </p:sp>
    </p:spTree>
    <p:extLst>
      <p:ext uri="{BB962C8B-B14F-4D97-AF65-F5344CB8AC3E}">
        <p14:creationId xmlns:p14="http://schemas.microsoft.com/office/powerpoint/2010/main" val="39010655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ext Placeholder 8"/>
          <p:cNvSpPr>
            <a:spLocks noGrp="1"/>
          </p:cNvSpPr>
          <p:nvPr>
            <p:ph type="body" sz="quarter" idx="13"/>
          </p:nvPr>
        </p:nvSpPr>
        <p:spPr>
          <a:xfrm>
            <a:off x="457200" y="411480"/>
            <a:ext cx="6400800" cy="182880"/>
          </a:xfrm>
        </p:spPr>
        <p:txBody>
          <a:bodyPr/>
          <a:lstStyle>
            <a:lvl1pPr marL="0" indent="0">
              <a:buNone/>
              <a:defRPr sz="1200">
                <a:solidFill>
                  <a:schemeClr val="accent1"/>
                </a:solidFill>
              </a:defRPr>
            </a:lvl1pPr>
            <a:lvl2pPr marL="228597" indent="0">
              <a:buNone/>
              <a:defRPr/>
            </a:lvl2pPr>
          </a:lstStyle>
          <a:p>
            <a:pPr lvl="0"/>
            <a:r>
              <a:rPr lang="en-US"/>
              <a:t>Click to edit Master text styles</a:t>
            </a:r>
          </a:p>
        </p:txBody>
      </p:sp>
      <p:sp>
        <p:nvSpPr>
          <p:cNvPr id="4" name="Footer Placeholder 3">
            <a:extLst>
              <a:ext uri="{FF2B5EF4-FFF2-40B4-BE49-F238E27FC236}">
                <a16:creationId xmlns:a16="http://schemas.microsoft.com/office/drawing/2014/main" id="{9E8D967F-325D-48D4-8EAB-85AAAD89EB31}"/>
              </a:ext>
            </a:extLst>
          </p:cNvPr>
          <p:cNvSpPr>
            <a:spLocks noGrp="1"/>
          </p:cNvSpPr>
          <p:nvPr>
            <p:ph type="ftr" sz="quarter" idx="14"/>
          </p:nvPr>
        </p:nvSpPr>
        <p:spPr/>
        <p:txBody>
          <a:bodyPr/>
          <a:lstStyle>
            <a:lvl1pPr>
              <a:defRPr/>
            </a:lvl1pPr>
          </a:lstStyle>
          <a:p>
            <a:endParaRPr lang="en-US"/>
          </a:p>
        </p:txBody>
      </p:sp>
      <p:sp>
        <p:nvSpPr>
          <p:cNvPr id="5" name="Slide Number Placeholder 4">
            <a:extLst>
              <a:ext uri="{FF2B5EF4-FFF2-40B4-BE49-F238E27FC236}">
                <a16:creationId xmlns:a16="http://schemas.microsoft.com/office/drawing/2014/main" id="{EB3FF118-A9D6-44A5-B857-81746893B4B2}"/>
              </a:ext>
            </a:extLst>
          </p:cNvPr>
          <p:cNvSpPr>
            <a:spLocks noGrp="1"/>
          </p:cNvSpPr>
          <p:nvPr>
            <p:ph type="sldNum" sz="quarter" idx="15"/>
          </p:nvPr>
        </p:nvSpPr>
        <p:spPr/>
        <p:txBody>
          <a:bodyPr/>
          <a:lstStyle>
            <a:lvl1pPr>
              <a:defRPr/>
            </a:lvl1pPr>
          </a:lstStyle>
          <a:p>
            <a:fld id="{00000000-1234-1234-1234-123412341234}" type="slidenum">
              <a:rPr lang="en" smtClean="0"/>
              <a:pPr/>
              <a:t>‹#›</a:t>
            </a:fld>
            <a:endParaRPr lang="en"/>
          </a:p>
        </p:txBody>
      </p:sp>
    </p:spTree>
    <p:extLst>
      <p:ext uri="{BB962C8B-B14F-4D97-AF65-F5344CB8AC3E}">
        <p14:creationId xmlns:p14="http://schemas.microsoft.com/office/powerpoint/2010/main" val="1344901693"/>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650"/>
        <p:cNvGrpSpPr/>
        <p:nvPr/>
      </p:nvGrpSpPr>
      <p:grpSpPr>
        <a:xfrm>
          <a:off x="0" y="0"/>
          <a:ext cx="0" cy="0"/>
          <a:chOff x="0" y="0"/>
          <a:chExt cx="0" cy="0"/>
        </a:xfrm>
      </p:grpSpPr>
      <p:sp>
        <p:nvSpPr>
          <p:cNvPr id="651" name="Google Shape;651;p100"/>
          <p:cNvSpPr txBox="1">
            <a:spLocks noGrp="1"/>
          </p:cNvSpPr>
          <p:nvPr>
            <p:ph type="title"/>
          </p:nvPr>
        </p:nvSpPr>
        <p:spPr>
          <a:xfrm>
            <a:off x="822000" y="669967"/>
            <a:ext cx="10569600" cy="607200"/>
          </a:xfrm>
          <a:prstGeom prst="rect">
            <a:avLst/>
          </a:prstGeom>
        </p:spPr>
        <p:txBody>
          <a:bodyPr spcFirstLastPara="1" wrap="square" lIns="0" tIns="0" rIns="0" bIns="0" anchor="t" anchorCtr="0">
            <a:noAutofit/>
          </a:bodyPr>
          <a:lstStyle>
            <a:lvl1pPr marL="0" marR="0" lvl="0" indent="0" algn="l" rtl="0">
              <a:lnSpc>
                <a:spcPct val="100000"/>
              </a:lnSpc>
              <a:spcBef>
                <a:spcPts val="0"/>
              </a:spcBef>
              <a:spcAft>
                <a:spcPts val="0"/>
              </a:spcAft>
              <a:buNone/>
              <a:defRPr sz="3000">
                <a:latin typeface="Mulish Black"/>
                <a:ea typeface="Mulish Black"/>
                <a:cs typeface="Mulish Black"/>
                <a:sym typeface="Mulish Black"/>
              </a:defRPr>
            </a:lvl1pPr>
            <a:lvl2pPr lvl="1" rtl="0">
              <a:spcBef>
                <a:spcPts val="0"/>
              </a:spcBef>
              <a:spcAft>
                <a:spcPts val="0"/>
              </a:spcAft>
              <a:buClr>
                <a:schemeClr val="dk1"/>
              </a:buClr>
              <a:buSzPts val="3700"/>
              <a:buNone/>
              <a:defRPr sz="3700">
                <a:solidFill>
                  <a:schemeClr val="dk1"/>
                </a:solidFill>
              </a:defRPr>
            </a:lvl2pPr>
            <a:lvl3pPr lvl="2" rtl="0">
              <a:spcBef>
                <a:spcPts val="0"/>
              </a:spcBef>
              <a:spcAft>
                <a:spcPts val="0"/>
              </a:spcAft>
              <a:buClr>
                <a:schemeClr val="dk1"/>
              </a:buClr>
              <a:buSzPts val="3700"/>
              <a:buNone/>
              <a:defRPr sz="3700">
                <a:solidFill>
                  <a:schemeClr val="dk1"/>
                </a:solidFill>
              </a:defRPr>
            </a:lvl3pPr>
            <a:lvl4pPr lvl="3" rtl="0">
              <a:spcBef>
                <a:spcPts val="0"/>
              </a:spcBef>
              <a:spcAft>
                <a:spcPts val="0"/>
              </a:spcAft>
              <a:buClr>
                <a:schemeClr val="dk1"/>
              </a:buClr>
              <a:buSzPts val="3700"/>
              <a:buNone/>
              <a:defRPr sz="3700">
                <a:solidFill>
                  <a:schemeClr val="dk1"/>
                </a:solidFill>
              </a:defRPr>
            </a:lvl4pPr>
            <a:lvl5pPr lvl="4" rtl="0">
              <a:spcBef>
                <a:spcPts val="0"/>
              </a:spcBef>
              <a:spcAft>
                <a:spcPts val="0"/>
              </a:spcAft>
              <a:buClr>
                <a:schemeClr val="dk1"/>
              </a:buClr>
              <a:buSzPts val="3700"/>
              <a:buNone/>
              <a:defRPr sz="3700">
                <a:solidFill>
                  <a:schemeClr val="dk1"/>
                </a:solidFill>
              </a:defRPr>
            </a:lvl5pPr>
            <a:lvl6pPr lvl="5" rtl="0">
              <a:spcBef>
                <a:spcPts val="0"/>
              </a:spcBef>
              <a:spcAft>
                <a:spcPts val="0"/>
              </a:spcAft>
              <a:buClr>
                <a:schemeClr val="dk1"/>
              </a:buClr>
              <a:buSzPts val="3700"/>
              <a:buNone/>
              <a:defRPr sz="3700">
                <a:solidFill>
                  <a:schemeClr val="dk1"/>
                </a:solidFill>
              </a:defRPr>
            </a:lvl6pPr>
            <a:lvl7pPr lvl="6" rtl="0">
              <a:spcBef>
                <a:spcPts val="0"/>
              </a:spcBef>
              <a:spcAft>
                <a:spcPts val="0"/>
              </a:spcAft>
              <a:buClr>
                <a:schemeClr val="dk1"/>
              </a:buClr>
              <a:buSzPts val="3700"/>
              <a:buNone/>
              <a:defRPr sz="3700">
                <a:solidFill>
                  <a:schemeClr val="dk1"/>
                </a:solidFill>
              </a:defRPr>
            </a:lvl7pPr>
            <a:lvl8pPr lvl="7" rtl="0">
              <a:spcBef>
                <a:spcPts val="0"/>
              </a:spcBef>
              <a:spcAft>
                <a:spcPts val="0"/>
              </a:spcAft>
              <a:buClr>
                <a:schemeClr val="dk1"/>
              </a:buClr>
              <a:buSzPts val="3700"/>
              <a:buNone/>
              <a:defRPr sz="3700">
                <a:solidFill>
                  <a:schemeClr val="dk1"/>
                </a:solidFill>
              </a:defRPr>
            </a:lvl8pPr>
            <a:lvl9pPr lvl="8" rtl="0">
              <a:spcBef>
                <a:spcPts val="0"/>
              </a:spcBef>
              <a:spcAft>
                <a:spcPts val="0"/>
              </a:spcAft>
              <a:buClr>
                <a:schemeClr val="dk1"/>
              </a:buClr>
              <a:buSzPts val="3700"/>
              <a:buNone/>
              <a:defRPr sz="3700">
                <a:solidFill>
                  <a:schemeClr val="dk1"/>
                </a:solidFill>
              </a:defRPr>
            </a:lvl9pPr>
          </a:lstStyle>
          <a:p>
            <a:endParaRPr/>
          </a:p>
        </p:txBody>
      </p:sp>
      <p:sp>
        <p:nvSpPr>
          <p:cNvPr id="652" name="Google Shape;652;p100"/>
          <p:cNvSpPr txBox="1">
            <a:spLocks noGrp="1"/>
          </p:cNvSpPr>
          <p:nvPr>
            <p:ph type="body" idx="1"/>
          </p:nvPr>
        </p:nvSpPr>
        <p:spPr>
          <a:xfrm>
            <a:off x="822000" y="1578200"/>
            <a:ext cx="10569600" cy="4555200"/>
          </a:xfrm>
          <a:prstGeom prst="rect">
            <a:avLst/>
          </a:prstGeom>
        </p:spPr>
        <p:txBody>
          <a:bodyPr spcFirstLastPara="1" wrap="square" lIns="0" tIns="0" rIns="0" bIns="0" anchor="t" anchorCtr="0">
            <a:noAutofit/>
          </a:bodyPr>
          <a:lstStyle>
            <a:lvl1pPr marL="457200" lvl="0" indent="-317500" rtl="0">
              <a:spcBef>
                <a:spcPts val="0"/>
              </a:spcBef>
              <a:spcAft>
                <a:spcPts val="0"/>
              </a:spcAft>
              <a:buSzPts val="1400"/>
              <a:buChar char="●"/>
              <a:defRPr/>
            </a:lvl1pPr>
            <a:lvl2pPr marL="914400" lvl="1" indent="-317500" rtl="0">
              <a:spcBef>
                <a:spcPts val="0"/>
              </a:spcBef>
              <a:spcAft>
                <a:spcPts val="0"/>
              </a:spcAft>
              <a:buSzPts val="1400"/>
              <a:buChar char="○"/>
              <a:defRPr/>
            </a:lvl2pPr>
            <a:lvl3pPr marL="1371600" lvl="2" indent="-317500" rtl="0">
              <a:spcBef>
                <a:spcPts val="0"/>
              </a:spcBef>
              <a:spcAft>
                <a:spcPts val="0"/>
              </a:spcAft>
              <a:buSzPts val="1400"/>
              <a:buChar char="■"/>
              <a:defRPr/>
            </a:lvl3pPr>
            <a:lvl4pPr marL="1828800" lvl="3" indent="-317500" rtl="0">
              <a:spcBef>
                <a:spcPts val="0"/>
              </a:spcBef>
              <a:spcAft>
                <a:spcPts val="0"/>
              </a:spcAft>
              <a:buSzPts val="1400"/>
              <a:buChar char="●"/>
              <a:defRPr/>
            </a:lvl4pPr>
            <a:lvl5pPr marL="2286000" lvl="4" indent="-317500" rtl="0">
              <a:spcBef>
                <a:spcPts val="0"/>
              </a:spcBef>
              <a:spcAft>
                <a:spcPts val="0"/>
              </a:spcAft>
              <a:buSzPts val="1400"/>
              <a:buChar char="○"/>
              <a:defRPr/>
            </a:lvl5pPr>
            <a:lvl6pPr marL="2743200" lvl="5" indent="-317500" rtl="0">
              <a:spcBef>
                <a:spcPts val="0"/>
              </a:spcBef>
              <a:spcAft>
                <a:spcPts val="0"/>
              </a:spcAft>
              <a:buSzPts val="1400"/>
              <a:buChar char="■"/>
              <a:defRPr/>
            </a:lvl6pPr>
            <a:lvl7pPr marL="3200400" lvl="6" indent="-317500" rtl="0">
              <a:spcBef>
                <a:spcPts val="0"/>
              </a:spcBef>
              <a:spcAft>
                <a:spcPts val="0"/>
              </a:spcAft>
              <a:buSzPts val="1400"/>
              <a:buChar char="●"/>
              <a:defRPr/>
            </a:lvl7pPr>
            <a:lvl8pPr marL="3657600" lvl="7" indent="-317500" rtl="0">
              <a:spcBef>
                <a:spcPts val="0"/>
              </a:spcBef>
              <a:spcAft>
                <a:spcPts val="0"/>
              </a:spcAft>
              <a:buSzPts val="1400"/>
              <a:buChar char="○"/>
              <a:defRPr/>
            </a:lvl8pPr>
            <a:lvl9pPr marL="4114800" lvl="8" indent="-317500" rtl="0">
              <a:spcBef>
                <a:spcPts val="0"/>
              </a:spcBef>
              <a:spcAft>
                <a:spcPts val="0"/>
              </a:spcAft>
              <a:buSzPts val="1400"/>
              <a:buChar char="■"/>
              <a:defRPr/>
            </a:lvl9pPr>
          </a:lstStyle>
          <a:p>
            <a:endParaRPr/>
          </a:p>
        </p:txBody>
      </p:sp>
    </p:spTree>
    <p:extLst>
      <p:ext uri="{BB962C8B-B14F-4D97-AF65-F5344CB8AC3E}">
        <p14:creationId xmlns:p14="http://schemas.microsoft.com/office/powerpoint/2010/main" val="1326852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157782538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Power Statement - dots">
  <p:cSld name="Power Statement - dots">
    <p:bg>
      <p:bgPr>
        <a:blipFill>
          <a:blip r:embed="rId2">
            <a:alphaModFix/>
          </a:blip>
          <a:stretch>
            <a:fillRect/>
          </a:stretch>
        </a:blipFill>
        <a:effectLst/>
      </p:bgPr>
    </p:bg>
    <p:spTree>
      <p:nvGrpSpPr>
        <p:cNvPr id="1" name="Shape 2373"/>
        <p:cNvGrpSpPr/>
        <p:nvPr/>
      </p:nvGrpSpPr>
      <p:grpSpPr>
        <a:xfrm>
          <a:off x="0" y="0"/>
          <a:ext cx="0" cy="0"/>
          <a:chOff x="0" y="0"/>
          <a:chExt cx="0" cy="0"/>
        </a:xfrm>
      </p:grpSpPr>
      <p:sp>
        <p:nvSpPr>
          <p:cNvPr id="2375" name="Google Shape;2375;p292"/>
          <p:cNvSpPr txBox="1">
            <a:spLocks noGrp="1"/>
          </p:cNvSpPr>
          <p:nvPr>
            <p:ph type="title"/>
          </p:nvPr>
        </p:nvSpPr>
        <p:spPr>
          <a:xfrm>
            <a:off x="1087800" y="2067967"/>
            <a:ext cx="10016400" cy="1884000"/>
          </a:xfrm>
          <a:prstGeom prst="rect">
            <a:avLst/>
          </a:prstGeom>
        </p:spPr>
        <p:txBody>
          <a:bodyPr spcFirstLastPara="1" wrap="square" lIns="0" tIns="0" rIns="0" bIns="0" anchor="b" anchorCtr="0">
            <a:noAutofit/>
          </a:bodyPr>
          <a:lstStyle>
            <a:lvl1pPr lvl="0" rtl="0">
              <a:spcBef>
                <a:spcPts val="0"/>
              </a:spcBef>
              <a:spcAft>
                <a:spcPts val="0"/>
              </a:spcAft>
              <a:buClr>
                <a:schemeClr val="lt1"/>
              </a:buClr>
              <a:buSzPts val="4000"/>
              <a:buFont typeface="Mulish Black"/>
              <a:buNone/>
              <a:defRPr sz="5333">
                <a:solidFill>
                  <a:schemeClr val="lt1"/>
                </a:solidFill>
                <a:latin typeface="Mulish Black"/>
                <a:ea typeface="Mulish Black"/>
                <a:cs typeface="Mulish Black"/>
                <a:sym typeface="Mulish Black"/>
              </a:defRPr>
            </a:lvl1pPr>
            <a:lvl2pPr lvl="1" rtl="0">
              <a:spcBef>
                <a:spcPts val="0"/>
              </a:spcBef>
              <a:spcAft>
                <a:spcPts val="0"/>
              </a:spcAft>
              <a:buSzPts val="4000"/>
              <a:buFont typeface="Muli"/>
              <a:buNone/>
              <a:defRPr sz="5333">
                <a:latin typeface="Muli"/>
                <a:ea typeface="Muli"/>
                <a:cs typeface="Muli"/>
                <a:sym typeface="Muli"/>
              </a:defRPr>
            </a:lvl2pPr>
            <a:lvl3pPr lvl="2" rtl="0">
              <a:spcBef>
                <a:spcPts val="0"/>
              </a:spcBef>
              <a:spcAft>
                <a:spcPts val="0"/>
              </a:spcAft>
              <a:buSzPts val="4000"/>
              <a:buFont typeface="Muli"/>
              <a:buNone/>
              <a:defRPr sz="5333">
                <a:latin typeface="Muli"/>
                <a:ea typeface="Muli"/>
                <a:cs typeface="Muli"/>
                <a:sym typeface="Muli"/>
              </a:defRPr>
            </a:lvl3pPr>
            <a:lvl4pPr lvl="3" rtl="0">
              <a:spcBef>
                <a:spcPts val="0"/>
              </a:spcBef>
              <a:spcAft>
                <a:spcPts val="0"/>
              </a:spcAft>
              <a:buSzPts val="4000"/>
              <a:buFont typeface="Muli"/>
              <a:buNone/>
              <a:defRPr sz="5333">
                <a:latin typeface="Muli"/>
                <a:ea typeface="Muli"/>
                <a:cs typeface="Muli"/>
                <a:sym typeface="Muli"/>
              </a:defRPr>
            </a:lvl4pPr>
            <a:lvl5pPr lvl="4" rtl="0">
              <a:spcBef>
                <a:spcPts val="0"/>
              </a:spcBef>
              <a:spcAft>
                <a:spcPts val="0"/>
              </a:spcAft>
              <a:buSzPts val="4000"/>
              <a:buFont typeface="Muli"/>
              <a:buNone/>
              <a:defRPr sz="5333">
                <a:latin typeface="Muli"/>
                <a:ea typeface="Muli"/>
                <a:cs typeface="Muli"/>
                <a:sym typeface="Muli"/>
              </a:defRPr>
            </a:lvl5pPr>
            <a:lvl6pPr lvl="5" rtl="0">
              <a:spcBef>
                <a:spcPts val="0"/>
              </a:spcBef>
              <a:spcAft>
                <a:spcPts val="0"/>
              </a:spcAft>
              <a:buSzPts val="4000"/>
              <a:buFont typeface="Muli"/>
              <a:buNone/>
              <a:defRPr sz="5333">
                <a:latin typeface="Muli"/>
                <a:ea typeface="Muli"/>
                <a:cs typeface="Muli"/>
                <a:sym typeface="Muli"/>
              </a:defRPr>
            </a:lvl6pPr>
            <a:lvl7pPr lvl="6" rtl="0">
              <a:spcBef>
                <a:spcPts val="0"/>
              </a:spcBef>
              <a:spcAft>
                <a:spcPts val="0"/>
              </a:spcAft>
              <a:buSzPts val="4000"/>
              <a:buFont typeface="Muli"/>
              <a:buNone/>
              <a:defRPr sz="5333">
                <a:latin typeface="Muli"/>
                <a:ea typeface="Muli"/>
                <a:cs typeface="Muli"/>
                <a:sym typeface="Muli"/>
              </a:defRPr>
            </a:lvl7pPr>
            <a:lvl8pPr lvl="7" rtl="0">
              <a:spcBef>
                <a:spcPts val="0"/>
              </a:spcBef>
              <a:spcAft>
                <a:spcPts val="0"/>
              </a:spcAft>
              <a:buSzPts val="4000"/>
              <a:buFont typeface="Muli"/>
              <a:buNone/>
              <a:defRPr sz="5333">
                <a:latin typeface="Muli"/>
                <a:ea typeface="Muli"/>
                <a:cs typeface="Muli"/>
                <a:sym typeface="Muli"/>
              </a:defRPr>
            </a:lvl8pPr>
            <a:lvl9pPr lvl="8" rtl="0">
              <a:spcBef>
                <a:spcPts val="0"/>
              </a:spcBef>
              <a:spcAft>
                <a:spcPts val="0"/>
              </a:spcAft>
              <a:buSzPts val="4000"/>
              <a:buFont typeface="Muli"/>
              <a:buNone/>
              <a:defRPr sz="5333">
                <a:latin typeface="Muli"/>
                <a:ea typeface="Muli"/>
                <a:cs typeface="Muli"/>
                <a:sym typeface="Muli"/>
              </a:defRPr>
            </a:lvl9pPr>
          </a:lstStyle>
          <a:p>
            <a:endParaRPr/>
          </a:p>
        </p:txBody>
      </p:sp>
    </p:spTree>
    <p:extLst>
      <p:ext uri="{BB962C8B-B14F-4D97-AF65-F5344CB8AC3E}">
        <p14:creationId xmlns:p14="http://schemas.microsoft.com/office/powerpoint/2010/main" val="16269952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Split Layout with Dark Right">
  <p:cSld name="Split Layout with Dark Right">
    <p:bg>
      <p:bgPr>
        <a:blipFill>
          <a:blip r:embed="rId2">
            <a:alphaModFix/>
          </a:blip>
          <a:stretch>
            <a:fillRect/>
          </a:stretch>
        </a:blipFill>
        <a:effectLst/>
      </p:bgPr>
    </p:bg>
    <p:spTree>
      <p:nvGrpSpPr>
        <p:cNvPr id="1" name="Shape 208"/>
        <p:cNvGrpSpPr/>
        <p:nvPr/>
      </p:nvGrpSpPr>
      <p:grpSpPr>
        <a:xfrm>
          <a:off x="0" y="0"/>
          <a:ext cx="0" cy="0"/>
          <a:chOff x="0" y="0"/>
          <a:chExt cx="0" cy="0"/>
        </a:xfrm>
      </p:grpSpPr>
      <p:sp>
        <p:nvSpPr>
          <p:cNvPr id="212" name="Google Shape;212;p28"/>
          <p:cNvSpPr txBox="1">
            <a:spLocks noGrp="1"/>
          </p:cNvSpPr>
          <p:nvPr>
            <p:ph type="title"/>
          </p:nvPr>
        </p:nvSpPr>
        <p:spPr>
          <a:xfrm>
            <a:off x="441600" y="611100"/>
            <a:ext cx="6869600" cy="1050000"/>
          </a:xfrm>
          <a:prstGeom prst="rect">
            <a:avLst/>
          </a:prstGeom>
        </p:spPr>
        <p:txBody>
          <a:bodyPr spcFirstLastPara="1" wrap="square" lIns="0" tIns="0" rIns="0" bIns="0" anchor="t" anchorCtr="0">
            <a:noAutofit/>
          </a:bodyPr>
          <a:lstStyle>
            <a:lvl1pPr marL="0" marR="0" lvl="0" indent="0" algn="ctr" rtl="0">
              <a:lnSpc>
                <a:spcPct val="87000"/>
              </a:lnSpc>
              <a:spcBef>
                <a:spcPts val="0"/>
              </a:spcBef>
              <a:spcAft>
                <a:spcPts val="0"/>
              </a:spcAft>
              <a:buNone/>
              <a:defRPr sz="3200">
                <a:latin typeface="Mulish Black"/>
                <a:ea typeface="Mulish Black"/>
                <a:cs typeface="Mulish Black"/>
                <a:sym typeface="Mulish Black"/>
              </a:defRPr>
            </a:lvl1pPr>
            <a:lvl2pPr lvl="1">
              <a:spcBef>
                <a:spcPts val="0"/>
              </a:spcBef>
              <a:spcAft>
                <a:spcPts val="0"/>
              </a:spcAft>
              <a:buSzPts val="2800"/>
              <a:buNone/>
              <a:defRPr>
                <a:latin typeface="Roboto"/>
                <a:ea typeface="Roboto"/>
                <a:cs typeface="Roboto"/>
                <a:sym typeface="Roboto"/>
              </a:defRPr>
            </a:lvl2pPr>
            <a:lvl3pPr lvl="2">
              <a:spcBef>
                <a:spcPts val="0"/>
              </a:spcBef>
              <a:spcAft>
                <a:spcPts val="0"/>
              </a:spcAft>
              <a:buSzPts val="2800"/>
              <a:buNone/>
              <a:defRPr>
                <a:latin typeface="Roboto"/>
                <a:ea typeface="Roboto"/>
                <a:cs typeface="Roboto"/>
                <a:sym typeface="Roboto"/>
              </a:defRPr>
            </a:lvl3pPr>
            <a:lvl4pPr lvl="3">
              <a:spcBef>
                <a:spcPts val="0"/>
              </a:spcBef>
              <a:spcAft>
                <a:spcPts val="0"/>
              </a:spcAft>
              <a:buSzPts val="2800"/>
              <a:buNone/>
              <a:defRPr>
                <a:latin typeface="Roboto"/>
                <a:ea typeface="Roboto"/>
                <a:cs typeface="Roboto"/>
                <a:sym typeface="Roboto"/>
              </a:defRPr>
            </a:lvl4pPr>
            <a:lvl5pPr lvl="4">
              <a:spcBef>
                <a:spcPts val="0"/>
              </a:spcBef>
              <a:spcAft>
                <a:spcPts val="0"/>
              </a:spcAft>
              <a:buSzPts val="2800"/>
              <a:buNone/>
              <a:defRPr>
                <a:latin typeface="Roboto"/>
                <a:ea typeface="Roboto"/>
                <a:cs typeface="Roboto"/>
                <a:sym typeface="Roboto"/>
              </a:defRPr>
            </a:lvl5pPr>
            <a:lvl6pPr lvl="5">
              <a:spcBef>
                <a:spcPts val="0"/>
              </a:spcBef>
              <a:spcAft>
                <a:spcPts val="0"/>
              </a:spcAft>
              <a:buSzPts val="2800"/>
              <a:buNone/>
              <a:defRPr>
                <a:latin typeface="Roboto"/>
                <a:ea typeface="Roboto"/>
                <a:cs typeface="Roboto"/>
                <a:sym typeface="Roboto"/>
              </a:defRPr>
            </a:lvl6pPr>
            <a:lvl7pPr lvl="6">
              <a:spcBef>
                <a:spcPts val="0"/>
              </a:spcBef>
              <a:spcAft>
                <a:spcPts val="0"/>
              </a:spcAft>
              <a:buSzPts val="2800"/>
              <a:buNone/>
              <a:defRPr>
                <a:latin typeface="Roboto"/>
                <a:ea typeface="Roboto"/>
                <a:cs typeface="Roboto"/>
                <a:sym typeface="Roboto"/>
              </a:defRPr>
            </a:lvl7pPr>
            <a:lvl8pPr lvl="7">
              <a:spcBef>
                <a:spcPts val="0"/>
              </a:spcBef>
              <a:spcAft>
                <a:spcPts val="0"/>
              </a:spcAft>
              <a:buSzPts val="2800"/>
              <a:buNone/>
              <a:defRPr>
                <a:latin typeface="Roboto"/>
                <a:ea typeface="Roboto"/>
                <a:cs typeface="Roboto"/>
                <a:sym typeface="Roboto"/>
              </a:defRPr>
            </a:lvl8pPr>
            <a:lvl9pPr lvl="8">
              <a:spcBef>
                <a:spcPts val="0"/>
              </a:spcBef>
              <a:spcAft>
                <a:spcPts val="0"/>
              </a:spcAft>
              <a:buSzPts val="2800"/>
              <a:buNone/>
              <a:defRPr>
                <a:latin typeface="Roboto"/>
                <a:ea typeface="Roboto"/>
                <a:cs typeface="Roboto"/>
                <a:sym typeface="Roboto"/>
              </a:defRPr>
            </a:lvl9pPr>
          </a:lstStyle>
          <a:p>
            <a:endParaRPr/>
          </a:p>
        </p:txBody>
      </p:sp>
    </p:spTree>
    <p:extLst>
      <p:ext uri="{BB962C8B-B14F-4D97-AF65-F5344CB8AC3E}">
        <p14:creationId xmlns:p14="http://schemas.microsoft.com/office/powerpoint/2010/main" val="10023742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9488" y="685800"/>
            <a:ext cx="11305312" cy="822960"/>
          </a:xfrm>
        </p:spPr>
        <p:txBody>
          <a:bodyPr/>
          <a:lstStyle>
            <a:lvl1pPr>
              <a:defRPr/>
            </a:lvl1pPr>
          </a:lstStyle>
          <a:p>
            <a:r>
              <a:rPr lang="en-US"/>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457317" y="411480"/>
            <a:ext cx="6400800" cy="182880"/>
          </a:xfrm>
        </p:spPr>
        <p:txBody>
          <a:bodyPr/>
          <a:lstStyle>
            <a:lvl1pPr marL="0" indent="0">
              <a:buNone/>
              <a:defRPr sz="1200">
                <a:solidFill>
                  <a:schemeClr val="accent1"/>
                </a:solidFill>
              </a:defRPr>
            </a:lvl1pPr>
            <a:lvl2pPr marL="228594"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648DC815-E6E0-FB41-AAF2-5C2D47912632}"/>
              </a:ext>
            </a:extLst>
          </p:cNvPr>
          <p:cNvSpPr>
            <a:spLocks noGrp="1"/>
          </p:cNvSpPr>
          <p:nvPr>
            <p:ph type="ftr" sz="quarter" idx="14"/>
          </p:nvPr>
        </p:nvSpPr>
        <p:spPr/>
        <p:txBody>
          <a:bodyPr/>
          <a:lstStyle>
            <a:lvl1pPr>
              <a:defRPr/>
            </a:lvl1pPr>
          </a:lstStyle>
          <a:p>
            <a:pPr>
              <a:defRPr/>
            </a:pPr>
            <a:r>
              <a:rPr lang="en-US" dirty="0"/>
              <a:t>© 2024 Comcast. All rights reserved.</a:t>
            </a:r>
          </a:p>
        </p:txBody>
      </p:sp>
      <p:sp>
        <p:nvSpPr>
          <p:cNvPr id="6" name="Slide Number Placeholder 5">
            <a:extLst>
              <a:ext uri="{FF2B5EF4-FFF2-40B4-BE49-F238E27FC236}">
                <a16:creationId xmlns:a16="http://schemas.microsoft.com/office/drawing/2014/main" id="{42050708-A5AE-944E-8ACE-F46A241813A1}"/>
              </a:ext>
            </a:extLst>
          </p:cNvPr>
          <p:cNvSpPr>
            <a:spLocks noGrp="1"/>
          </p:cNvSpPr>
          <p:nvPr>
            <p:ph type="sldNum" sz="quarter" idx="15"/>
          </p:nvPr>
        </p:nvSpPr>
        <p:spPr/>
        <p:txBody>
          <a:bodyPr/>
          <a:lstStyle>
            <a:lvl1pPr>
              <a:defRPr/>
            </a:lvl1pPr>
          </a:lstStyle>
          <a:p>
            <a:pPr>
              <a:defRPr/>
            </a:pPr>
            <a:fld id="{12278D16-D8FF-8C44-A4E0-156D034AD86A}" type="slidenum">
              <a:rPr lang="en-US"/>
              <a:pPr>
                <a:defRPr/>
              </a:pPr>
              <a:t>‹#›</a:t>
            </a:fld>
            <a:endParaRPr lang="en-US"/>
          </a:p>
        </p:txBody>
      </p:sp>
    </p:spTree>
    <p:extLst>
      <p:ext uri="{BB962C8B-B14F-4D97-AF65-F5344CB8AC3E}">
        <p14:creationId xmlns:p14="http://schemas.microsoft.com/office/powerpoint/2010/main" val="3796385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1_Content Slide - Full Width">
  <p:cSld name="1_Content Slide - Full Width">
    <p:spTree>
      <p:nvGrpSpPr>
        <p:cNvPr id="1" name="Shape 15"/>
        <p:cNvGrpSpPr/>
        <p:nvPr/>
      </p:nvGrpSpPr>
      <p:grpSpPr>
        <a:xfrm>
          <a:off x="0" y="0"/>
          <a:ext cx="0" cy="0"/>
          <a:chOff x="0" y="0"/>
          <a:chExt cx="0" cy="0"/>
        </a:xfrm>
      </p:grpSpPr>
      <p:sp>
        <p:nvSpPr>
          <p:cNvPr id="16" name="Google Shape;16;p4"/>
          <p:cNvSpPr>
            <a:spLocks noGrp="1"/>
          </p:cNvSpPr>
          <p:nvPr>
            <p:ph type="pic" idx="2"/>
          </p:nvPr>
        </p:nvSpPr>
        <p:spPr>
          <a:xfrm>
            <a:off x="5280050" y="-2"/>
            <a:ext cx="4399919" cy="1060056"/>
          </a:xfrm>
          <a:prstGeom prst="rect">
            <a:avLst/>
          </a:prstGeom>
          <a:solidFill>
            <a:schemeClr val="accent6"/>
          </a:solidFill>
          <a:ln>
            <a:noFill/>
          </a:ln>
        </p:spPr>
      </p:sp>
      <p:sp>
        <p:nvSpPr>
          <p:cNvPr id="19" name="Google Shape;19;p4"/>
          <p:cNvSpPr txBox="1">
            <a:spLocks noGrp="1"/>
          </p:cNvSpPr>
          <p:nvPr>
            <p:ph type="body" idx="1"/>
          </p:nvPr>
        </p:nvSpPr>
        <p:spPr>
          <a:xfrm>
            <a:off x="463550" y="1097280"/>
            <a:ext cx="11271250" cy="4872162"/>
          </a:xfrm>
          <a:prstGeom prst="rect">
            <a:avLst/>
          </a:prstGeom>
          <a:noFill/>
          <a:ln>
            <a:noFill/>
          </a:ln>
        </p:spPr>
        <p:txBody>
          <a:bodyPr spcFirstLastPara="1" wrap="square" lIns="0" tIns="0" rIns="0" bIns="0" anchor="t" anchorCtr="0">
            <a:noAutofit/>
          </a:bodyPr>
          <a:lstStyle>
            <a:lvl1pPr marL="457200" marR="0" lvl="0" indent="-228600" algn="l" rtl="0">
              <a:lnSpc>
                <a:spcPct val="95000"/>
              </a:lnSpc>
              <a:spcBef>
                <a:spcPts val="1000"/>
              </a:spcBef>
              <a:spcAft>
                <a:spcPts val="0"/>
              </a:spcAft>
              <a:buClr>
                <a:schemeClr val="dk1"/>
              </a:buClr>
              <a:buSzPts val="1800"/>
              <a:buFont typeface="Arial"/>
              <a:buNone/>
              <a:defRPr sz="1800" b="0" i="0" u="none" strike="noStrike" cap="none">
                <a:solidFill>
                  <a:schemeClr val="dk1"/>
                </a:solidFill>
                <a:latin typeface="Montserrat Light"/>
                <a:ea typeface="Montserrat Light"/>
                <a:cs typeface="Montserrat Light"/>
                <a:sym typeface="Montserrat Light"/>
              </a:defRPr>
            </a:lvl1pPr>
            <a:lvl2pPr marL="914400" marR="0" lvl="1" indent="-342900" algn="l" rtl="0">
              <a:lnSpc>
                <a:spcPct val="90000"/>
              </a:lnSpc>
              <a:spcBef>
                <a:spcPts val="1200"/>
              </a:spcBef>
              <a:spcAft>
                <a:spcPts val="0"/>
              </a:spcAft>
              <a:buClr>
                <a:schemeClr val="dk1"/>
              </a:buClr>
              <a:buSzPts val="1800"/>
              <a:buFont typeface="Arial"/>
              <a:buChar char="•"/>
              <a:defRPr sz="1800" b="0" i="0" u="none" strike="noStrike" cap="none">
                <a:solidFill>
                  <a:schemeClr val="dk1"/>
                </a:solidFill>
                <a:latin typeface="Montserrat Light"/>
                <a:ea typeface="Montserrat Light"/>
                <a:cs typeface="Montserrat Light"/>
                <a:sym typeface="Montserrat Light"/>
              </a:defRPr>
            </a:lvl2pPr>
            <a:lvl3pPr marL="1371600" marR="0" lvl="2" indent="-342900" algn="l" rtl="0">
              <a:lnSpc>
                <a:spcPct val="90000"/>
              </a:lnSpc>
              <a:spcBef>
                <a:spcPts val="1200"/>
              </a:spcBef>
              <a:spcAft>
                <a:spcPts val="0"/>
              </a:spcAft>
              <a:buClr>
                <a:schemeClr val="dk1"/>
              </a:buClr>
              <a:buSzPts val="1800"/>
              <a:buFont typeface="Montserrat"/>
              <a:buChar char="–"/>
              <a:defRPr sz="1800" b="0" i="0" u="none" strike="noStrike" cap="none">
                <a:solidFill>
                  <a:schemeClr val="dk1"/>
                </a:solidFill>
                <a:latin typeface="Montserrat Light"/>
                <a:ea typeface="Montserrat Light"/>
                <a:cs typeface="Montserrat Light"/>
                <a:sym typeface="Montserrat Light"/>
              </a:defRPr>
            </a:lvl3pPr>
            <a:lvl4pPr marL="1828800" marR="0" lvl="3" indent="-330200" algn="l" rtl="0">
              <a:lnSpc>
                <a:spcPct val="90000"/>
              </a:lnSpc>
              <a:spcBef>
                <a:spcPts val="1200"/>
              </a:spcBef>
              <a:spcAft>
                <a:spcPts val="0"/>
              </a:spcAft>
              <a:buClr>
                <a:schemeClr val="dk1"/>
              </a:buClr>
              <a:buSzPts val="1600"/>
              <a:buFont typeface="Courier New"/>
              <a:buChar char="o"/>
              <a:defRPr sz="1600" b="0" i="0" u="none" strike="noStrike" cap="none">
                <a:solidFill>
                  <a:schemeClr val="dk1"/>
                </a:solidFill>
                <a:latin typeface="Montserrat Light"/>
                <a:ea typeface="Montserrat Light"/>
                <a:cs typeface="Montserrat Light"/>
                <a:sym typeface="Montserrat Light"/>
              </a:defRPr>
            </a:lvl4pPr>
            <a:lvl5pPr marL="2286000" marR="0" lvl="4" indent="-228600" algn="l" rtl="0">
              <a:lnSpc>
                <a:spcPct val="90000"/>
              </a:lnSpc>
              <a:spcBef>
                <a:spcPts val="500"/>
              </a:spcBef>
              <a:spcAft>
                <a:spcPts val="0"/>
              </a:spcAft>
              <a:buClr>
                <a:srgbClr val="000000"/>
              </a:buClr>
              <a:buSzPts val="1400"/>
              <a:buFont typeface="Arial"/>
              <a:buNone/>
              <a:defRPr sz="1400" b="0" i="0" u="none" strike="noStrike" cap="none">
                <a:solidFill>
                  <a:srgbClr val="000000"/>
                </a:solidFill>
                <a:latin typeface="Montserrat Light"/>
                <a:ea typeface="Montserrat Light"/>
                <a:cs typeface="Montserrat Light"/>
                <a:sym typeface="Montserrat Ligh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20" name="Google Shape;20;p4"/>
          <p:cNvSpPr txBox="1">
            <a:spLocks noGrp="1"/>
          </p:cNvSpPr>
          <p:nvPr>
            <p:ph type="title"/>
          </p:nvPr>
        </p:nvSpPr>
        <p:spPr>
          <a:xfrm>
            <a:off x="463548" y="514928"/>
            <a:ext cx="5289889" cy="36576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2"/>
              </a:buClr>
              <a:buSzPts val="2200"/>
              <a:buFont typeface="Montserrat"/>
              <a:buNone/>
              <a:defRPr sz="2200" b="1" i="0" u="none" strike="noStrike" cap="none">
                <a:solidFill>
                  <a:schemeClr val="lt2"/>
                </a:solidFill>
                <a:latin typeface="Montserrat"/>
                <a:ea typeface="Montserrat"/>
                <a:cs typeface="Montserrat"/>
                <a:sym typeface="Montserrat"/>
              </a:defRPr>
            </a:lvl1pPr>
            <a:lvl2pPr marR="0" lvl="1"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2pPr>
            <a:lvl3pPr marR="0" lvl="2"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3pPr>
            <a:lvl4pPr marR="0" lvl="3"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4pPr>
            <a:lvl5pPr marR="0" lvl="4"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5pPr>
            <a:lvl6pPr marR="0" lvl="5"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6pPr>
            <a:lvl7pPr marR="0" lvl="6"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7pPr>
            <a:lvl8pPr marR="0" lvl="7"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8pPr>
            <a:lvl9pPr marR="0" lvl="8" algn="l" rtl="0">
              <a:lnSpc>
                <a:spcPct val="95000"/>
              </a:lnSpc>
              <a:spcBef>
                <a:spcPts val="0"/>
              </a:spcBef>
              <a:spcAft>
                <a:spcPts val="0"/>
              </a:spcAft>
              <a:buClr>
                <a:srgbClr val="000000"/>
              </a:buClr>
              <a:buSzPts val="1400"/>
              <a:buFont typeface="Arial"/>
              <a:buNone/>
              <a:defRPr sz="3200" b="0" i="0" u="none" strike="noStrike" cap="none">
                <a:solidFill>
                  <a:schemeClr val="accent1"/>
                </a:solidFill>
                <a:latin typeface="Montserrat Light"/>
                <a:ea typeface="Montserrat Light"/>
                <a:cs typeface="Montserrat Light"/>
                <a:sym typeface="Montserrat Light"/>
              </a:defRPr>
            </a:lvl9pPr>
          </a:lstStyle>
          <a:p>
            <a:endParaRPr/>
          </a:p>
        </p:txBody>
      </p:sp>
      <p:sp>
        <p:nvSpPr>
          <p:cNvPr id="21" name="Google Shape;21;p4"/>
          <p:cNvSpPr txBox="1">
            <a:spLocks noGrp="1"/>
          </p:cNvSpPr>
          <p:nvPr>
            <p:ph type="body" idx="3"/>
          </p:nvPr>
        </p:nvSpPr>
        <p:spPr>
          <a:xfrm>
            <a:off x="463549" y="255612"/>
            <a:ext cx="5378902" cy="201168"/>
          </a:xfrm>
          <a:prstGeom prst="rect">
            <a:avLst/>
          </a:prstGeom>
          <a:noFill/>
          <a:ln>
            <a:noFill/>
          </a:ln>
        </p:spPr>
        <p:txBody>
          <a:bodyPr spcFirstLastPara="1" wrap="square" lIns="0" tIns="0" rIns="0" bIns="0" anchor="ctr" anchorCtr="0">
            <a:noAutofit/>
          </a:bodyPr>
          <a:lstStyle>
            <a:lvl1pPr marL="457200" marR="0" lvl="0" indent="-228600" algn="l" rtl="0">
              <a:lnSpc>
                <a:spcPct val="95000"/>
              </a:lnSpc>
              <a:spcBef>
                <a:spcPts val="1000"/>
              </a:spcBef>
              <a:spcAft>
                <a:spcPts val="0"/>
              </a:spcAft>
              <a:buClr>
                <a:schemeClr val="lt2"/>
              </a:buClr>
              <a:buSzPts val="1000"/>
              <a:buFont typeface="Arial"/>
              <a:buNone/>
              <a:defRPr sz="1000" b="0" i="0" u="none" strike="noStrike" cap="none">
                <a:solidFill>
                  <a:schemeClr val="lt2"/>
                </a:solidFill>
                <a:latin typeface="Montserrat"/>
                <a:ea typeface="Montserrat"/>
                <a:cs typeface="Montserrat"/>
                <a:sym typeface="Montserrat"/>
              </a:defRPr>
            </a:lvl1pPr>
            <a:lvl2pPr marL="914400" marR="0" lvl="1" indent="-342900" algn="l" rtl="0">
              <a:lnSpc>
                <a:spcPct val="90000"/>
              </a:lnSpc>
              <a:spcBef>
                <a:spcPts val="500"/>
              </a:spcBef>
              <a:spcAft>
                <a:spcPts val="0"/>
              </a:spcAft>
              <a:buClr>
                <a:schemeClr val="dk1"/>
              </a:buClr>
              <a:buSzPts val="1800"/>
              <a:buFont typeface="Montserrat"/>
              <a:buChar char="–"/>
              <a:defRPr sz="1800" b="0" i="0" u="none" strike="noStrike" cap="none">
                <a:solidFill>
                  <a:schemeClr val="dk1"/>
                </a:solidFill>
                <a:latin typeface="Montserrat"/>
                <a:ea typeface="Montserrat"/>
                <a:cs typeface="Montserrat"/>
                <a:sym typeface="Montserrat"/>
              </a:defRPr>
            </a:lvl2pPr>
            <a:lvl3pPr marL="1371600" marR="0" lvl="2"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Montserrat"/>
                <a:ea typeface="Montserrat"/>
                <a:cs typeface="Montserrat"/>
                <a:sym typeface="Montserrat"/>
              </a:defRPr>
            </a:lvl3pPr>
            <a:lvl4pPr marL="1828800" marR="0" lvl="3" indent="-317500" algn="l" rtl="0">
              <a:lnSpc>
                <a:spcPct val="90000"/>
              </a:lnSpc>
              <a:spcBef>
                <a:spcPts val="500"/>
              </a:spcBef>
              <a:spcAft>
                <a:spcPts val="0"/>
              </a:spcAft>
              <a:buClr>
                <a:schemeClr val="dk1"/>
              </a:buClr>
              <a:buSzPts val="1400"/>
              <a:buFont typeface="Montserrat"/>
              <a:buChar char="–"/>
              <a:defRPr sz="1400" b="0" i="0" u="none" strike="noStrike" cap="none">
                <a:solidFill>
                  <a:schemeClr val="dk1"/>
                </a:solidFill>
                <a:latin typeface="Montserrat"/>
                <a:ea typeface="Montserrat"/>
                <a:cs typeface="Montserrat"/>
                <a:sym typeface="Montserrat"/>
              </a:defRPr>
            </a:lvl4pPr>
            <a:lvl5pPr marL="2286000" marR="0" lvl="4" indent="-228600" algn="l" rtl="0">
              <a:lnSpc>
                <a:spcPct val="90000"/>
              </a:lnSpc>
              <a:spcBef>
                <a:spcPts val="500"/>
              </a:spcBef>
              <a:spcAft>
                <a:spcPts val="0"/>
              </a:spcAft>
              <a:buClr>
                <a:srgbClr val="000000"/>
              </a:buClr>
              <a:buSzPts val="1400"/>
              <a:buFont typeface="Arial"/>
              <a:buNone/>
              <a:defRPr sz="1200" b="1"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23" name="Google Shape;23;p4"/>
          <p:cNvSpPr>
            <a:spLocks noGrp="1"/>
          </p:cNvSpPr>
          <p:nvPr>
            <p:ph type="pic" idx="4"/>
          </p:nvPr>
        </p:nvSpPr>
        <p:spPr>
          <a:xfrm>
            <a:off x="10003266" y="178026"/>
            <a:ext cx="1725186" cy="780600"/>
          </a:xfrm>
          <a:prstGeom prst="rect">
            <a:avLst/>
          </a:prstGeom>
          <a:solidFill>
            <a:srgbClr val="F2F2F2"/>
          </a:solidFill>
          <a:ln>
            <a:noFill/>
          </a:ln>
        </p:spPr>
      </p:sp>
    </p:spTree>
    <p:extLst>
      <p:ext uri="{BB962C8B-B14F-4D97-AF65-F5344CB8AC3E}">
        <p14:creationId xmlns:p14="http://schemas.microsoft.com/office/powerpoint/2010/main" val="139915536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Content Slide - Full Width">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846E863C-73FE-117E-F372-408B140C1039}"/>
              </a:ext>
            </a:extLst>
          </p:cNvPr>
          <p:cNvSpPr>
            <a:spLocks noGrp="1"/>
          </p:cNvSpPr>
          <p:nvPr>
            <p:ph type="pic" sz="quarter" idx="28" hasCustomPrompt="1"/>
          </p:nvPr>
        </p:nvSpPr>
        <p:spPr>
          <a:xfrm>
            <a:off x="5280050" y="-2"/>
            <a:ext cx="4399919" cy="1060056"/>
          </a:xfrm>
          <a:custGeom>
            <a:avLst/>
            <a:gdLst>
              <a:gd name="connsiteX0" fmla="*/ 4 w 4399919"/>
              <a:gd name="connsiteY0" fmla="*/ 0 h 1060056"/>
              <a:gd name="connsiteX1" fmla="*/ 3869891 w 4399919"/>
              <a:gd name="connsiteY1" fmla="*/ 0 h 1060056"/>
              <a:gd name="connsiteX2" fmla="*/ 4399919 w 4399919"/>
              <a:gd name="connsiteY2" fmla="*/ 530028 h 1060056"/>
              <a:gd name="connsiteX3" fmla="*/ 4399918 w 4399919"/>
              <a:gd name="connsiteY3" fmla="*/ 530028 h 1060056"/>
              <a:gd name="connsiteX4" fmla="*/ 3869890 w 4399919"/>
              <a:gd name="connsiteY4" fmla="*/ 1060056 h 1060056"/>
              <a:gd name="connsiteX5" fmla="*/ 4 w 4399919"/>
              <a:gd name="connsiteY5" fmla="*/ 1060055 h 1060056"/>
              <a:gd name="connsiteX6" fmla="*/ 0 w 4399919"/>
              <a:gd name="connsiteY6" fmla="*/ 1060055 h 1060056"/>
              <a:gd name="connsiteX7" fmla="*/ 498974 w 4399919"/>
              <a:gd name="connsiteY7" fmla="*/ 1060055 h 1060056"/>
              <a:gd name="connsiteX8" fmla="*/ 1029001 w 4399919"/>
              <a:gd name="connsiteY8" fmla="*/ 530028 h 1060056"/>
              <a:gd name="connsiteX9" fmla="*/ 498974 w 4399919"/>
              <a:gd name="connsiteY9" fmla="*/ 1 h 1060056"/>
              <a:gd name="connsiteX10" fmla="*/ 0 w 4399919"/>
              <a:gd name="connsiteY10" fmla="*/ 1 h 106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99919" h="1060056">
                <a:moveTo>
                  <a:pt x="4" y="0"/>
                </a:moveTo>
                <a:lnTo>
                  <a:pt x="3869891" y="0"/>
                </a:lnTo>
                <a:cubicBezTo>
                  <a:pt x="4162617" y="0"/>
                  <a:pt x="4399919" y="237302"/>
                  <a:pt x="4399919" y="530028"/>
                </a:cubicBezTo>
                <a:lnTo>
                  <a:pt x="4399918" y="530028"/>
                </a:lnTo>
                <a:cubicBezTo>
                  <a:pt x="4399918" y="822754"/>
                  <a:pt x="4162616" y="1060056"/>
                  <a:pt x="3869890" y="1060056"/>
                </a:cubicBezTo>
                <a:lnTo>
                  <a:pt x="4" y="1060055"/>
                </a:lnTo>
                <a:lnTo>
                  <a:pt x="0" y="1060055"/>
                </a:lnTo>
                <a:lnTo>
                  <a:pt x="498974" y="1060055"/>
                </a:lnTo>
                <a:cubicBezTo>
                  <a:pt x="791700" y="1060055"/>
                  <a:pt x="1029001" y="822754"/>
                  <a:pt x="1029001" y="530028"/>
                </a:cubicBezTo>
                <a:cubicBezTo>
                  <a:pt x="1029001" y="237302"/>
                  <a:pt x="791700" y="1"/>
                  <a:pt x="498974" y="1"/>
                </a:cubicBezTo>
                <a:lnTo>
                  <a:pt x="0" y="1"/>
                </a:lnTo>
                <a:close/>
              </a:path>
            </a:pathLst>
          </a:custGeom>
          <a:solidFill>
            <a:schemeClr val="accent6"/>
          </a:solidFill>
          <a:ln>
            <a:noFill/>
          </a:ln>
        </p:spPr>
        <p:txBody>
          <a:bodyPr wrap="square" lIns="640080" anchor="ctr">
            <a:noAutofit/>
          </a:bodyPr>
          <a:lstStyle>
            <a:lvl1pPr marL="0" indent="0" algn="ctr">
              <a:buNone/>
              <a:defRPr sz="1100">
                <a:solidFill>
                  <a:schemeClr val="bg1">
                    <a:lumMod val="50000"/>
                  </a:schemeClr>
                </a:solidFill>
              </a:defRPr>
            </a:lvl1pPr>
          </a:lstStyle>
          <a:p>
            <a:r>
              <a:rPr lang="en-US"/>
              <a:t>[VERTICAL IMAGE] </a:t>
            </a:r>
          </a:p>
        </p:txBody>
      </p:sp>
      <p:sp>
        <p:nvSpPr>
          <p:cNvPr id="4" name="Round Same Side Corner Rectangle 3">
            <a:extLst>
              <a:ext uri="{FF2B5EF4-FFF2-40B4-BE49-F238E27FC236}">
                <a16:creationId xmlns:a16="http://schemas.microsoft.com/office/drawing/2014/main" id="{143909A2-601F-880C-A229-4172A40A63E4}"/>
              </a:ext>
            </a:extLst>
          </p:cNvPr>
          <p:cNvSpPr/>
          <p:nvPr userDrawn="1"/>
        </p:nvSpPr>
        <p:spPr>
          <a:xfrm rot="5400000">
            <a:off x="3408055" y="-1840941"/>
            <a:ext cx="1060054" cy="4741935"/>
          </a:xfrm>
          <a:prstGeom prst="round2SameRect">
            <a:avLst>
              <a:gd name="adj1" fmla="val 50000"/>
              <a:gd name="adj2" fmla="val 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Same Side Corner Rectangle 4">
            <a:extLst>
              <a:ext uri="{FF2B5EF4-FFF2-40B4-BE49-F238E27FC236}">
                <a16:creationId xmlns:a16="http://schemas.microsoft.com/office/drawing/2014/main" id="{9E7FD295-B00F-F789-1BCD-67BD11AC8F2E}"/>
              </a:ext>
            </a:extLst>
          </p:cNvPr>
          <p:cNvSpPr/>
          <p:nvPr userDrawn="1"/>
        </p:nvSpPr>
        <p:spPr>
          <a:xfrm rot="5400000">
            <a:off x="2462847" y="-2462849"/>
            <a:ext cx="1060054" cy="5985751"/>
          </a:xfrm>
          <a:prstGeom prst="round2SameRect">
            <a:avLst>
              <a:gd name="adj1" fmla="val 50000"/>
              <a:gd name="adj2"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5289889"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9" y="255612"/>
            <a:ext cx="5378902"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rgbClr val="000000"/>
                </a:solidFill>
                <a:latin typeface="Montserrat" panose="00000500000000000000" pitchFamily="2" charset="0"/>
              </a:rPr>
              <a:t>© 2024 Comcast. All rights reserved.</a:t>
            </a:r>
          </a:p>
        </p:txBody>
      </p:sp>
      <p:sp>
        <p:nvSpPr>
          <p:cNvPr id="3" name="Picture Placeholder 2">
            <a:extLst>
              <a:ext uri="{FF2B5EF4-FFF2-40B4-BE49-F238E27FC236}">
                <a16:creationId xmlns:a16="http://schemas.microsoft.com/office/drawing/2014/main" id="{A8F47E17-2BD4-0EAB-4D59-8EE2DC5FCEA8}"/>
              </a:ext>
            </a:extLst>
          </p:cNvPr>
          <p:cNvSpPr>
            <a:spLocks noGrp="1"/>
          </p:cNvSpPr>
          <p:nvPr>
            <p:ph type="pic" sz="quarter" idx="27" hasCustomPrompt="1"/>
          </p:nvPr>
        </p:nvSpPr>
        <p:spPr>
          <a:xfrm>
            <a:off x="10003266" y="178026"/>
            <a:ext cx="1725186" cy="780600"/>
          </a:xfrm>
          <a:prstGeom prst="rect">
            <a:avLst/>
          </a:prstGeom>
          <a:solidFill>
            <a:schemeClr val="bg1">
              <a:lumMod val="95000"/>
            </a:schemeClr>
          </a:solidFill>
        </p:spPr>
        <p:txBody>
          <a:bodyPr anchor="ctr"/>
          <a:lstStyle>
            <a:lvl1pPr marL="0" indent="0" algn="ctr">
              <a:buNone/>
              <a:defRPr sz="1100">
                <a:solidFill>
                  <a:schemeClr val="bg1">
                    <a:lumMod val="50000"/>
                  </a:schemeClr>
                </a:solidFill>
              </a:defRPr>
            </a:lvl1pPr>
          </a:lstStyle>
          <a:p>
            <a:r>
              <a:rPr lang="en-US"/>
              <a:t>[LOGO HERE]</a:t>
            </a:r>
          </a:p>
        </p:txBody>
      </p:sp>
    </p:spTree>
    <p:extLst>
      <p:ext uri="{BB962C8B-B14F-4D97-AF65-F5344CB8AC3E}">
        <p14:creationId xmlns:p14="http://schemas.microsoft.com/office/powerpoint/2010/main" val="316012832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with Image 1">
    <p:bg>
      <p:bgPr>
        <a:solidFill>
          <a:schemeClr val="bg2"/>
        </a:solidFill>
        <a:effectLst/>
      </p:bgPr>
    </p:bg>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D2D2B093-F202-7B1C-0AC4-DF26CF46B1B5}"/>
              </a:ext>
            </a:extLst>
          </p:cNvPr>
          <p:cNvSpPr/>
          <p:nvPr/>
        </p:nvSpPr>
        <p:spPr>
          <a:xfrm>
            <a:off x="0" y="0"/>
            <a:ext cx="6258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a:extLst>
              <a:ext uri="{FF2B5EF4-FFF2-40B4-BE49-F238E27FC236}">
                <a16:creationId xmlns:a16="http://schemas.microsoft.com/office/drawing/2014/main" id="{5CF400B9-D5A9-D3EF-2FF5-F2291659B9C2}"/>
              </a:ext>
            </a:extLst>
          </p:cNvPr>
          <p:cNvSpPr>
            <a:spLocks noGrp="1"/>
          </p:cNvSpPr>
          <p:nvPr>
            <p:ph type="pic" sz="quarter" idx="11" hasCustomPrompt="1"/>
          </p:nvPr>
        </p:nvSpPr>
        <p:spPr>
          <a:xfrm>
            <a:off x="2829298" y="0"/>
            <a:ext cx="8614395" cy="6857998"/>
          </a:xfrm>
          <a:custGeom>
            <a:avLst/>
            <a:gdLst>
              <a:gd name="connsiteX0" fmla="*/ 0 w 8614395"/>
              <a:gd name="connsiteY0" fmla="*/ 0 h 6857998"/>
              <a:gd name="connsiteX1" fmla="*/ 5185395 w 8614395"/>
              <a:gd name="connsiteY1" fmla="*/ 0 h 6857998"/>
              <a:gd name="connsiteX2" fmla="*/ 8614395 w 8614395"/>
              <a:gd name="connsiteY2" fmla="*/ 3428999 h 6857998"/>
              <a:gd name="connsiteX3" fmla="*/ 8460234 w 8614395"/>
              <a:gd name="connsiteY3" fmla="*/ 4448679 h 6857998"/>
              <a:gd name="connsiteX4" fmla="*/ 8419485 w 8614395"/>
              <a:gd name="connsiteY4" fmla="*/ 4560012 h 6857998"/>
              <a:gd name="connsiteX5" fmla="*/ 7840460 w 8614395"/>
              <a:gd name="connsiteY5" fmla="*/ 4560012 h 6857998"/>
              <a:gd name="connsiteX6" fmla="*/ 6932828 w 8614395"/>
              <a:gd name="connsiteY6" fmla="*/ 5379072 h 6857998"/>
              <a:gd name="connsiteX7" fmla="*/ 6928118 w 8614395"/>
              <a:gd name="connsiteY7" fmla="*/ 5472354 h 6857998"/>
              <a:gd name="connsiteX8" fmla="*/ 6932828 w 8614395"/>
              <a:gd name="connsiteY8" fmla="*/ 5565635 h 6857998"/>
              <a:gd name="connsiteX9" fmla="*/ 7227021 w 8614395"/>
              <a:gd name="connsiteY9" fmla="*/ 6147685 h 6857998"/>
              <a:gd name="connsiteX10" fmla="*/ 7248047 w 8614395"/>
              <a:gd name="connsiteY10" fmla="*/ 6163602 h 6857998"/>
              <a:gd name="connsiteX11" fmla="*/ 7102581 w 8614395"/>
              <a:gd name="connsiteY11" fmla="*/ 6272379 h 6857998"/>
              <a:gd name="connsiteX12" fmla="*/ 5185395 w 8614395"/>
              <a:gd name="connsiteY12" fmla="*/ 6857998 h 6857998"/>
              <a:gd name="connsiteX13" fmla="*/ 80 w 8614395"/>
              <a:gd name="connsiteY13" fmla="*/ 6857998 h 6857998"/>
              <a:gd name="connsiteX14" fmla="*/ 176455 w 8614395"/>
              <a:gd name="connsiteY14" fmla="*/ 6853538 h 6857998"/>
              <a:gd name="connsiteX15" fmla="*/ 3428999 w 8614395"/>
              <a:gd name="connsiteY15" fmla="*/ 3429000 h 6857998"/>
              <a:gd name="connsiteX16" fmla="*/ 0 w 8614395"/>
              <a:gd name="connsiteY16"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14395" h="6857998">
                <a:moveTo>
                  <a:pt x="0" y="0"/>
                </a:moveTo>
                <a:lnTo>
                  <a:pt x="5185395" y="0"/>
                </a:lnTo>
                <a:cubicBezTo>
                  <a:pt x="7079179" y="0"/>
                  <a:pt x="8614395" y="1535215"/>
                  <a:pt x="8614395" y="3428999"/>
                </a:cubicBezTo>
                <a:cubicBezTo>
                  <a:pt x="8614395" y="3784084"/>
                  <a:pt x="8560423" y="4126562"/>
                  <a:pt x="8460234" y="4448679"/>
                </a:cubicBezTo>
                <a:lnTo>
                  <a:pt x="8419485" y="4560012"/>
                </a:lnTo>
                <a:lnTo>
                  <a:pt x="7840460" y="4560012"/>
                </a:lnTo>
                <a:cubicBezTo>
                  <a:pt x="7368079" y="4560012"/>
                  <a:pt x="6979549" y="4919018"/>
                  <a:pt x="6932828" y="5379072"/>
                </a:cubicBezTo>
                <a:lnTo>
                  <a:pt x="6928118" y="5472354"/>
                </a:lnTo>
                <a:lnTo>
                  <a:pt x="6932828" y="5565635"/>
                </a:lnTo>
                <a:cubicBezTo>
                  <a:pt x="6956188" y="5795662"/>
                  <a:pt x="7065001" y="6000427"/>
                  <a:pt x="7227021" y="6147685"/>
                </a:cubicBezTo>
                <a:lnTo>
                  <a:pt x="7248047" y="6163602"/>
                </a:lnTo>
                <a:lnTo>
                  <a:pt x="7102581" y="6272379"/>
                </a:lnTo>
                <a:cubicBezTo>
                  <a:pt x="6555309" y="6642109"/>
                  <a:pt x="5895564" y="6857998"/>
                  <a:pt x="5185395" y="6857998"/>
                </a:cubicBezTo>
                <a:lnTo>
                  <a:pt x="80" y="6857998"/>
                </a:lnTo>
                <a:lnTo>
                  <a:pt x="176455" y="6853538"/>
                </a:lnTo>
                <a:cubicBezTo>
                  <a:pt x="1988235" y="6761699"/>
                  <a:pt x="3428999" y="5263603"/>
                  <a:pt x="3428999" y="3429000"/>
                </a:cubicBezTo>
                <a:cubicBezTo>
                  <a:pt x="3428999" y="1535216"/>
                  <a:pt x="1893784" y="0"/>
                  <a:pt x="0" y="0"/>
                </a:cubicBezTo>
                <a:close/>
              </a:path>
            </a:pathLst>
          </a:custGeom>
          <a:solidFill>
            <a:schemeClr val="bg1">
              <a:lumMod val="95000"/>
            </a:schemeClr>
          </a:solidFill>
        </p:spPr>
        <p:txBody>
          <a:bodyPr wrap="square" lIns="3108960"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dirty="0"/>
              <a:t>Drag picture to placeholder</a:t>
            </a:r>
            <a:br>
              <a:rPr lang="en-US" dirty="0"/>
            </a:br>
            <a:r>
              <a:rPr lang="en-US" dirty="0"/>
              <a:t>or click icon to add.</a:t>
            </a:r>
          </a:p>
        </p:txBody>
      </p:sp>
      <p:sp>
        <p:nvSpPr>
          <p:cNvPr id="12" name="Freeform 11">
            <a:extLst>
              <a:ext uri="{FF2B5EF4-FFF2-40B4-BE49-F238E27FC236}">
                <a16:creationId xmlns:a16="http://schemas.microsoft.com/office/drawing/2014/main" id="{0A0EA6BB-F6D4-3648-5AFF-D4F39A3C5357}"/>
              </a:ext>
            </a:extLst>
          </p:cNvPr>
          <p:cNvSpPr/>
          <p:nvPr/>
        </p:nvSpPr>
        <p:spPr>
          <a:xfrm>
            <a:off x="9757416" y="4560012"/>
            <a:ext cx="2434584" cy="1824684"/>
          </a:xfrm>
          <a:custGeom>
            <a:avLst/>
            <a:gdLst>
              <a:gd name="connsiteX0" fmla="*/ 912342 w 2434584"/>
              <a:gd name="connsiteY0" fmla="*/ 0 h 1824684"/>
              <a:gd name="connsiteX1" fmla="*/ 2434584 w 2434584"/>
              <a:gd name="connsiteY1" fmla="*/ 0 h 1824684"/>
              <a:gd name="connsiteX2" fmla="*/ 2434584 w 2434584"/>
              <a:gd name="connsiteY2" fmla="*/ 1824684 h 1824684"/>
              <a:gd name="connsiteX3" fmla="*/ 912342 w 2434584"/>
              <a:gd name="connsiteY3" fmla="*/ 1824683 h 1824684"/>
              <a:gd name="connsiteX4" fmla="*/ 4710 w 2434584"/>
              <a:gd name="connsiteY4" fmla="*/ 1005623 h 1824684"/>
              <a:gd name="connsiteX5" fmla="*/ 0 w 2434584"/>
              <a:gd name="connsiteY5" fmla="*/ 912342 h 1824684"/>
              <a:gd name="connsiteX6" fmla="*/ 4710 w 2434584"/>
              <a:gd name="connsiteY6" fmla="*/ 819060 h 1824684"/>
              <a:gd name="connsiteX7" fmla="*/ 912342 w 2434584"/>
              <a:gd name="connsiteY7" fmla="*/ 0 h 18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584" h="1824684">
                <a:moveTo>
                  <a:pt x="912342" y="0"/>
                </a:moveTo>
                <a:lnTo>
                  <a:pt x="2434584" y="0"/>
                </a:lnTo>
                <a:lnTo>
                  <a:pt x="2434584" y="1824684"/>
                </a:lnTo>
                <a:lnTo>
                  <a:pt x="912342" y="1824683"/>
                </a:lnTo>
                <a:cubicBezTo>
                  <a:pt x="439961" y="1824683"/>
                  <a:pt x="51431" y="1465677"/>
                  <a:pt x="4710" y="1005623"/>
                </a:cubicBezTo>
                <a:lnTo>
                  <a:pt x="0" y="912342"/>
                </a:lnTo>
                <a:lnTo>
                  <a:pt x="4710" y="819060"/>
                </a:lnTo>
                <a:cubicBezTo>
                  <a:pt x="51431" y="359006"/>
                  <a:pt x="439961" y="0"/>
                  <a:pt x="912342" y="0"/>
                </a:cubicBezTo>
                <a:close/>
              </a:path>
            </a:pathLst>
          </a:custGeom>
          <a:solidFill>
            <a:srgbClr val="A89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374092" y="1439868"/>
            <a:ext cx="5029181" cy="2880360"/>
          </a:xfrm>
          <a:prstGeom prst="rect">
            <a:avLst/>
          </a:prstGeom>
        </p:spPr>
        <p:txBody>
          <a:bodyPr anchor="b">
            <a:noAutofit/>
          </a:bodyPr>
          <a:lstStyle>
            <a:lvl1pPr algn="l">
              <a:defRPr sz="5400" b="1" i="0">
                <a:solidFill>
                  <a:schemeClr val="bg2"/>
                </a:solidFill>
                <a:latin typeface="Montserrat" pitchFamily="2" charset="77"/>
              </a:defRPr>
            </a:lvl1pPr>
          </a:lstStyle>
          <a:p>
            <a:r>
              <a:rPr lang="en-US"/>
              <a:t>Click to edit Master title style</a:t>
            </a:r>
            <a:endParaRPr lang="en-GB" dirty="0"/>
          </a:p>
        </p:txBody>
      </p:sp>
      <p:sp>
        <p:nvSpPr>
          <p:cNvPr id="3" name="Subtitle 2"/>
          <p:cNvSpPr>
            <a:spLocks noGrp="1"/>
          </p:cNvSpPr>
          <p:nvPr>
            <p:ph type="subTitle" idx="1"/>
          </p:nvPr>
        </p:nvSpPr>
        <p:spPr>
          <a:xfrm>
            <a:off x="374092" y="4568825"/>
            <a:ext cx="5264886" cy="641350"/>
          </a:xfrm>
          <a:prstGeom prst="rect">
            <a:avLst/>
          </a:prstGeom>
        </p:spPr>
        <p:txBody>
          <a:bodyPr>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Date Placeholder 3">
            <a:extLst>
              <a:ext uri="{FF2B5EF4-FFF2-40B4-BE49-F238E27FC236}">
                <a16:creationId xmlns:a16="http://schemas.microsoft.com/office/drawing/2014/main" id="{FD78CF55-0C25-4C23-2C35-E1A9DABADB84}"/>
              </a:ext>
            </a:extLst>
          </p:cNvPr>
          <p:cNvSpPr>
            <a:spLocks noGrp="1"/>
          </p:cNvSpPr>
          <p:nvPr>
            <p:ph type="dt" sz="half" idx="10"/>
          </p:nvPr>
        </p:nvSpPr>
        <p:spPr>
          <a:xfrm>
            <a:off x="457200" y="6108700"/>
            <a:ext cx="4114800" cy="274638"/>
          </a:xfrm>
          <a:prstGeom prst="rect">
            <a:avLst/>
          </a:prstGeom>
        </p:spPr>
        <p:txBody>
          <a:bodyPr/>
          <a:lstStyle>
            <a:lvl1pPr>
              <a:defRPr sz="1400">
                <a:solidFill>
                  <a:schemeClr val="accent2"/>
                </a:solidFill>
              </a:defRPr>
            </a:lvl1pPr>
          </a:lstStyle>
          <a:p>
            <a:pPr>
              <a:defRPr/>
            </a:pPr>
            <a:endParaRPr lang="en-US" dirty="0"/>
          </a:p>
        </p:txBody>
      </p:sp>
    </p:spTree>
    <p:extLst>
      <p:ext uri="{BB962C8B-B14F-4D97-AF65-F5344CB8AC3E}">
        <p14:creationId xmlns:p14="http://schemas.microsoft.com/office/powerpoint/2010/main" val="681805208"/>
      </p:ext>
    </p:extLst>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1_Title Slide with Image 2">
    <p:bg>
      <p:bgPr>
        <a:solidFill>
          <a:schemeClr val="accent1"/>
        </a:solidFill>
        <a:effectLst/>
      </p:bgPr>
    </p:bg>
    <p:spTree>
      <p:nvGrpSpPr>
        <p:cNvPr id="1" name=""/>
        <p:cNvGrpSpPr/>
        <p:nvPr/>
      </p:nvGrpSpPr>
      <p:grpSpPr>
        <a:xfrm>
          <a:off x="0" y="0"/>
          <a:ext cx="0" cy="0"/>
          <a:chOff x="0" y="0"/>
          <a:chExt cx="0" cy="0"/>
        </a:xfrm>
      </p:grpSpPr>
      <p:sp>
        <p:nvSpPr>
          <p:cNvPr id="23" name="Freeform 22">
            <a:extLst>
              <a:ext uri="{FF2B5EF4-FFF2-40B4-BE49-F238E27FC236}">
                <a16:creationId xmlns:a16="http://schemas.microsoft.com/office/drawing/2014/main" id="{E0E59BF4-9AD4-3FCE-50AD-1B50108A4CEB}"/>
              </a:ext>
            </a:extLst>
          </p:cNvPr>
          <p:cNvSpPr/>
          <p:nvPr/>
        </p:nvSpPr>
        <p:spPr>
          <a:xfrm rot="16200000">
            <a:off x="4599083" y="1089215"/>
            <a:ext cx="6867144" cy="4670424"/>
          </a:xfrm>
          <a:custGeom>
            <a:avLst/>
            <a:gdLst>
              <a:gd name="connsiteX0" fmla="*/ 6867144 w 6867144"/>
              <a:gd name="connsiteY0" fmla="*/ 3433572 h 4670424"/>
              <a:gd name="connsiteX1" fmla="*/ 6867144 w 6867144"/>
              <a:gd name="connsiteY1" fmla="*/ 4670424 h 4670424"/>
              <a:gd name="connsiteX2" fmla="*/ 0 w 6867144"/>
              <a:gd name="connsiteY2" fmla="*/ 4670423 h 4670424"/>
              <a:gd name="connsiteX3" fmla="*/ 0 w 6867144"/>
              <a:gd name="connsiteY3" fmla="*/ 3433571 h 4670424"/>
              <a:gd name="connsiteX4" fmla="*/ 3433572 w 6867144"/>
              <a:gd name="connsiteY4" fmla="*/ 0 h 4670424"/>
              <a:gd name="connsiteX5" fmla="*/ 6867144 w 6867144"/>
              <a:gd name="connsiteY5" fmla="*/ 3433572 h 467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7144" h="4670424">
                <a:moveTo>
                  <a:pt x="6867144" y="3433572"/>
                </a:moveTo>
                <a:lnTo>
                  <a:pt x="6867144" y="4670424"/>
                </a:lnTo>
                <a:lnTo>
                  <a:pt x="0" y="4670423"/>
                </a:lnTo>
                <a:lnTo>
                  <a:pt x="0" y="3433571"/>
                </a:lnTo>
                <a:cubicBezTo>
                  <a:pt x="0" y="1537263"/>
                  <a:pt x="1537263" y="0"/>
                  <a:pt x="3433572" y="0"/>
                </a:cubicBezTo>
                <a:cubicBezTo>
                  <a:pt x="5329881" y="0"/>
                  <a:pt x="6867144" y="1537263"/>
                  <a:pt x="6867144" y="3433572"/>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C201715D-BBCC-4185-A6D8-5FD229113338}"/>
              </a:ext>
            </a:extLst>
          </p:cNvPr>
          <p:cNvSpPr>
            <a:spLocks noGrp="1"/>
          </p:cNvSpPr>
          <p:nvPr>
            <p:ph type="ctrTitle" hasCustomPrompt="1"/>
          </p:nvPr>
        </p:nvSpPr>
        <p:spPr>
          <a:xfrm>
            <a:off x="374094" y="2027343"/>
            <a:ext cx="5227980" cy="2688589"/>
          </a:xfrm>
          <a:prstGeom prst="rect">
            <a:avLst/>
          </a:prstGeom>
        </p:spPr>
        <p:txBody>
          <a:bodyPr lIns="0" tIns="0" rIns="0" bIns="0" anchor="b">
            <a:noAutofit/>
          </a:bodyPr>
          <a:lstStyle>
            <a:lvl1pPr algn="l">
              <a:defRPr sz="5400" b="1" i="0">
                <a:solidFill>
                  <a:schemeClr val="bg2"/>
                </a:solidFill>
                <a:latin typeface="Montserrat" pitchFamily="2" charset="77"/>
              </a:defRPr>
            </a:lvl1pPr>
          </a:lstStyle>
          <a:p>
            <a:r>
              <a:rPr lang="en-GB" dirty="0"/>
              <a:t>Presentation title, Bold 54pt, max 3 lines</a:t>
            </a:r>
          </a:p>
        </p:txBody>
      </p:sp>
      <p:sp>
        <p:nvSpPr>
          <p:cNvPr id="3" name="Subtitle 2">
            <a:extLst>
              <a:ext uri="{FF2B5EF4-FFF2-40B4-BE49-F238E27FC236}">
                <a16:creationId xmlns:a16="http://schemas.microsoft.com/office/drawing/2014/main" id="{9ED5964E-2594-47EA-A0C0-745BE90F64D3}"/>
              </a:ext>
            </a:extLst>
          </p:cNvPr>
          <p:cNvSpPr>
            <a:spLocks noGrp="1"/>
          </p:cNvSpPr>
          <p:nvPr>
            <p:ph type="subTitle" idx="1" hasCustomPrompt="1"/>
          </p:nvPr>
        </p:nvSpPr>
        <p:spPr>
          <a:xfrm>
            <a:off x="429333" y="4944533"/>
            <a:ext cx="5429596" cy="641350"/>
          </a:xfrm>
          <a:prstGeom prst="rect">
            <a:avLst/>
          </a:prstGeom>
        </p:spPr>
        <p:txBody>
          <a:bodyPr lIns="0" tIns="0" rIns="0" bIns="0">
            <a:noAutofit/>
          </a:bodyPr>
          <a:lstStyle>
            <a:lvl1pPr marL="0" indent="0" algn="l">
              <a:buNone/>
              <a:defRPr sz="2400">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lace subtitle here, Light 24pt</a:t>
            </a:r>
          </a:p>
        </p:txBody>
      </p:sp>
      <p:sp>
        <p:nvSpPr>
          <p:cNvPr id="4" name="Date Placeholder 3">
            <a:extLst>
              <a:ext uri="{FF2B5EF4-FFF2-40B4-BE49-F238E27FC236}">
                <a16:creationId xmlns:a16="http://schemas.microsoft.com/office/drawing/2014/main" id="{C7CCBB25-72E7-413F-B042-04DB03FC404C}"/>
              </a:ext>
            </a:extLst>
          </p:cNvPr>
          <p:cNvSpPr>
            <a:spLocks noGrp="1"/>
          </p:cNvSpPr>
          <p:nvPr>
            <p:ph type="dt" sz="half" idx="10"/>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pPr>
              <a:defRPr/>
            </a:pPr>
            <a:endParaRPr lang="en-US" dirty="0"/>
          </a:p>
        </p:txBody>
      </p:sp>
      <p:sp>
        <p:nvSpPr>
          <p:cNvPr id="13" name="Picture Placeholder 12">
            <a:extLst>
              <a:ext uri="{FF2B5EF4-FFF2-40B4-BE49-F238E27FC236}">
                <a16:creationId xmlns:a16="http://schemas.microsoft.com/office/drawing/2014/main" id="{5CBBC6C7-08E3-66CE-5760-7070750DD5BE}"/>
              </a:ext>
            </a:extLst>
          </p:cNvPr>
          <p:cNvSpPr>
            <a:spLocks noGrp="1" noChangeAspect="1"/>
          </p:cNvSpPr>
          <p:nvPr>
            <p:ph type="pic" sz="quarter" idx="15" hasCustomPrompt="1"/>
          </p:nvPr>
        </p:nvSpPr>
        <p:spPr bwMode="auto">
          <a:xfrm>
            <a:off x="6275636" y="-15450"/>
            <a:ext cx="5920103" cy="6888901"/>
          </a:xfrm>
          <a:custGeom>
            <a:avLst/>
            <a:gdLst>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277575 w 5920103"/>
              <a:gd name="connsiteY8" fmla="*/ 6886328 h 6886328"/>
              <a:gd name="connsiteX9" fmla="*/ 4040840 w 5920103"/>
              <a:gd name="connsiteY9" fmla="*/ 6886328 h 6886328"/>
              <a:gd name="connsiteX10" fmla="*/ 4040840 w 5920103"/>
              <a:gd name="connsiteY10" fmla="*/ 6877187 h 6886328"/>
              <a:gd name="connsiteX11" fmla="*/ 3854807 w 5920103"/>
              <a:gd name="connsiteY11" fmla="*/ 6876289 h 6886328"/>
              <a:gd name="connsiteX12" fmla="*/ 3854807 w 5920103"/>
              <a:gd name="connsiteY12" fmla="*/ 6876288 h 6886328"/>
              <a:gd name="connsiteX13" fmla="*/ 3429267 w 5920103"/>
              <a:gd name="connsiteY13" fmla="*/ 6876288 h 6886328"/>
              <a:gd name="connsiteX14" fmla="*/ 3429267 w 5920103"/>
              <a:gd name="connsiteY14" fmla="*/ 6875680 h 6886328"/>
              <a:gd name="connsiteX15" fmla="*/ 3219512 w 5920103"/>
              <a:gd name="connsiteY15" fmla="*/ 6869354 h 6886328"/>
              <a:gd name="connsiteX16" fmla="*/ 464211 w 5920103"/>
              <a:gd name="connsiteY16" fmla="*/ 5163415 h 6886328"/>
              <a:gd name="connsiteX17" fmla="*/ 458834 w 5920103"/>
              <a:gd name="connsiteY17" fmla="*/ 1722175 h 6886328"/>
              <a:gd name="connsiteX18" fmla="*/ 3208791 w 5920103"/>
              <a:gd name="connsiteY18" fmla="*/ 7637 h 6886328"/>
              <a:gd name="connsiteX19" fmla="*/ 3429267 w 5920103"/>
              <a:gd name="connsiteY19" fmla="*/ 298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5135878 w 5920103"/>
              <a:gd name="connsiteY7" fmla="*/ 6886328 h 6886328"/>
              <a:gd name="connsiteX8" fmla="*/ 4040840 w 5920103"/>
              <a:gd name="connsiteY8" fmla="*/ 6886328 h 6886328"/>
              <a:gd name="connsiteX9" fmla="*/ 4040840 w 5920103"/>
              <a:gd name="connsiteY9" fmla="*/ 6877187 h 6886328"/>
              <a:gd name="connsiteX10" fmla="*/ 3854807 w 5920103"/>
              <a:gd name="connsiteY10" fmla="*/ 6876289 h 6886328"/>
              <a:gd name="connsiteX11" fmla="*/ 3854807 w 5920103"/>
              <a:gd name="connsiteY11" fmla="*/ 6876288 h 6886328"/>
              <a:gd name="connsiteX12" fmla="*/ 3429267 w 5920103"/>
              <a:gd name="connsiteY12" fmla="*/ 6876288 h 6886328"/>
              <a:gd name="connsiteX13" fmla="*/ 3429267 w 5920103"/>
              <a:gd name="connsiteY13" fmla="*/ 6875680 h 6886328"/>
              <a:gd name="connsiteX14" fmla="*/ 3219512 w 5920103"/>
              <a:gd name="connsiteY14" fmla="*/ 6869354 h 6886328"/>
              <a:gd name="connsiteX15" fmla="*/ 464211 w 5920103"/>
              <a:gd name="connsiteY15" fmla="*/ 5163415 h 6886328"/>
              <a:gd name="connsiteX16" fmla="*/ 458834 w 5920103"/>
              <a:gd name="connsiteY16" fmla="*/ 1722175 h 6886328"/>
              <a:gd name="connsiteX17" fmla="*/ 3208791 w 5920103"/>
              <a:gd name="connsiteY17" fmla="*/ 7637 h 6886328"/>
              <a:gd name="connsiteX18" fmla="*/ 3429267 w 5920103"/>
              <a:gd name="connsiteY18" fmla="*/ 298 h 6886328"/>
              <a:gd name="connsiteX19" fmla="*/ 3429267 w 5920103"/>
              <a:gd name="connsiteY19"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4040840 w 5920103"/>
              <a:gd name="connsiteY8" fmla="*/ 6877187 h 6886328"/>
              <a:gd name="connsiteX9" fmla="*/ 3854807 w 5920103"/>
              <a:gd name="connsiteY9" fmla="*/ 6876289 h 6886328"/>
              <a:gd name="connsiteX10" fmla="*/ 3854807 w 5920103"/>
              <a:gd name="connsiteY10" fmla="*/ 6876288 h 6886328"/>
              <a:gd name="connsiteX11" fmla="*/ 3429267 w 5920103"/>
              <a:gd name="connsiteY11" fmla="*/ 6876288 h 6886328"/>
              <a:gd name="connsiteX12" fmla="*/ 3429267 w 5920103"/>
              <a:gd name="connsiteY12" fmla="*/ 6875680 h 6886328"/>
              <a:gd name="connsiteX13" fmla="*/ 3219512 w 5920103"/>
              <a:gd name="connsiteY13" fmla="*/ 6869354 h 6886328"/>
              <a:gd name="connsiteX14" fmla="*/ 464211 w 5920103"/>
              <a:gd name="connsiteY14" fmla="*/ 5163415 h 6886328"/>
              <a:gd name="connsiteX15" fmla="*/ 458834 w 5920103"/>
              <a:gd name="connsiteY15" fmla="*/ 1722175 h 6886328"/>
              <a:gd name="connsiteX16" fmla="*/ 3208791 w 5920103"/>
              <a:gd name="connsiteY16" fmla="*/ 7637 h 6886328"/>
              <a:gd name="connsiteX17" fmla="*/ 3429267 w 5920103"/>
              <a:gd name="connsiteY17" fmla="*/ 298 h 6886328"/>
              <a:gd name="connsiteX18" fmla="*/ 3429267 w 5920103"/>
              <a:gd name="connsiteY18"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4040840 w 5920103"/>
              <a:gd name="connsiteY7" fmla="*/ 6886328 h 6886328"/>
              <a:gd name="connsiteX8" fmla="*/ 3854807 w 5920103"/>
              <a:gd name="connsiteY8" fmla="*/ 6876289 h 6886328"/>
              <a:gd name="connsiteX9" fmla="*/ 3854807 w 5920103"/>
              <a:gd name="connsiteY9" fmla="*/ 6876288 h 6886328"/>
              <a:gd name="connsiteX10" fmla="*/ 3429267 w 5920103"/>
              <a:gd name="connsiteY10" fmla="*/ 6876288 h 6886328"/>
              <a:gd name="connsiteX11" fmla="*/ 3429267 w 5920103"/>
              <a:gd name="connsiteY11" fmla="*/ 6875680 h 6886328"/>
              <a:gd name="connsiteX12" fmla="*/ 3219512 w 5920103"/>
              <a:gd name="connsiteY12" fmla="*/ 6869354 h 6886328"/>
              <a:gd name="connsiteX13" fmla="*/ 464211 w 5920103"/>
              <a:gd name="connsiteY13" fmla="*/ 5163415 h 6886328"/>
              <a:gd name="connsiteX14" fmla="*/ 458834 w 5920103"/>
              <a:gd name="connsiteY14" fmla="*/ 1722175 h 6886328"/>
              <a:gd name="connsiteX15" fmla="*/ 3208791 w 5920103"/>
              <a:gd name="connsiteY15" fmla="*/ 7637 h 6886328"/>
              <a:gd name="connsiteX16" fmla="*/ 3429267 w 5920103"/>
              <a:gd name="connsiteY16" fmla="*/ 298 h 6886328"/>
              <a:gd name="connsiteX17" fmla="*/ 3429267 w 5920103"/>
              <a:gd name="connsiteY17"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854807 w 5920103"/>
              <a:gd name="connsiteY8" fmla="*/ 6876288 h 6886328"/>
              <a:gd name="connsiteX9" fmla="*/ 3429267 w 5920103"/>
              <a:gd name="connsiteY9" fmla="*/ 6876288 h 6886328"/>
              <a:gd name="connsiteX10" fmla="*/ 3429267 w 5920103"/>
              <a:gd name="connsiteY10" fmla="*/ 6875680 h 6886328"/>
              <a:gd name="connsiteX11" fmla="*/ 3219512 w 5920103"/>
              <a:gd name="connsiteY11" fmla="*/ 6869354 h 6886328"/>
              <a:gd name="connsiteX12" fmla="*/ 464211 w 5920103"/>
              <a:gd name="connsiteY12" fmla="*/ 5163415 h 6886328"/>
              <a:gd name="connsiteX13" fmla="*/ 458834 w 5920103"/>
              <a:gd name="connsiteY13" fmla="*/ 1722175 h 6886328"/>
              <a:gd name="connsiteX14" fmla="*/ 3208791 w 5920103"/>
              <a:gd name="connsiteY14" fmla="*/ 7637 h 6886328"/>
              <a:gd name="connsiteX15" fmla="*/ 3429267 w 5920103"/>
              <a:gd name="connsiteY15" fmla="*/ 298 h 6886328"/>
              <a:gd name="connsiteX16" fmla="*/ 3429267 w 5920103"/>
              <a:gd name="connsiteY16" fmla="*/ 0 h 6886328"/>
              <a:gd name="connsiteX0" fmla="*/ 3429267 w 5920103"/>
              <a:gd name="connsiteY0" fmla="*/ 0 h 6886328"/>
              <a:gd name="connsiteX1" fmla="*/ 4040840 w 5920103"/>
              <a:gd name="connsiteY1" fmla="*/ 0 h 6886328"/>
              <a:gd name="connsiteX2" fmla="*/ 4040840 w 5920103"/>
              <a:gd name="connsiteY2" fmla="*/ 9142 h 6886328"/>
              <a:gd name="connsiteX3" fmla="*/ 4277575 w 5920103"/>
              <a:gd name="connsiteY3" fmla="*/ 9142 h 6886328"/>
              <a:gd name="connsiteX4" fmla="*/ 4277575 w 5920103"/>
              <a:gd name="connsiteY4" fmla="*/ 9141 h 6886328"/>
              <a:gd name="connsiteX5" fmla="*/ 5920103 w 5920103"/>
              <a:gd name="connsiteY5" fmla="*/ 9141 h 6886328"/>
              <a:gd name="connsiteX6" fmla="*/ 5920103 w 5920103"/>
              <a:gd name="connsiteY6" fmla="*/ 6886328 h 6886328"/>
              <a:gd name="connsiteX7" fmla="*/ 3854807 w 5920103"/>
              <a:gd name="connsiteY7" fmla="*/ 6876289 h 6886328"/>
              <a:gd name="connsiteX8" fmla="*/ 3429267 w 5920103"/>
              <a:gd name="connsiteY8" fmla="*/ 6876288 h 6886328"/>
              <a:gd name="connsiteX9" fmla="*/ 3429267 w 5920103"/>
              <a:gd name="connsiteY9" fmla="*/ 6875680 h 6886328"/>
              <a:gd name="connsiteX10" fmla="*/ 3219512 w 5920103"/>
              <a:gd name="connsiteY10" fmla="*/ 6869354 h 6886328"/>
              <a:gd name="connsiteX11" fmla="*/ 464211 w 5920103"/>
              <a:gd name="connsiteY11" fmla="*/ 5163415 h 6886328"/>
              <a:gd name="connsiteX12" fmla="*/ 458834 w 5920103"/>
              <a:gd name="connsiteY12" fmla="*/ 1722175 h 6886328"/>
              <a:gd name="connsiteX13" fmla="*/ 3208791 w 5920103"/>
              <a:gd name="connsiteY13" fmla="*/ 7637 h 6886328"/>
              <a:gd name="connsiteX14" fmla="*/ 3429267 w 5920103"/>
              <a:gd name="connsiteY14" fmla="*/ 298 h 6886328"/>
              <a:gd name="connsiteX15" fmla="*/ 3429267 w 5920103"/>
              <a:gd name="connsiteY15" fmla="*/ 0 h 6886328"/>
              <a:gd name="connsiteX0" fmla="*/ 3429267 w 5920103"/>
              <a:gd name="connsiteY0" fmla="*/ 0 h 6888901"/>
              <a:gd name="connsiteX1" fmla="*/ 4040840 w 5920103"/>
              <a:gd name="connsiteY1" fmla="*/ 0 h 6888901"/>
              <a:gd name="connsiteX2" fmla="*/ 4040840 w 5920103"/>
              <a:gd name="connsiteY2" fmla="*/ 9142 h 6888901"/>
              <a:gd name="connsiteX3" fmla="*/ 4277575 w 5920103"/>
              <a:gd name="connsiteY3" fmla="*/ 9142 h 6888901"/>
              <a:gd name="connsiteX4" fmla="*/ 4277575 w 5920103"/>
              <a:gd name="connsiteY4" fmla="*/ 9141 h 6888901"/>
              <a:gd name="connsiteX5" fmla="*/ 5920103 w 5920103"/>
              <a:gd name="connsiteY5" fmla="*/ 9141 h 6888901"/>
              <a:gd name="connsiteX6" fmla="*/ 5920103 w 5920103"/>
              <a:gd name="connsiteY6" fmla="*/ 6886328 h 6888901"/>
              <a:gd name="connsiteX7" fmla="*/ 3880032 w 5920103"/>
              <a:gd name="connsiteY7" fmla="*/ 6888901 h 6888901"/>
              <a:gd name="connsiteX8" fmla="*/ 3429267 w 5920103"/>
              <a:gd name="connsiteY8" fmla="*/ 6876288 h 6888901"/>
              <a:gd name="connsiteX9" fmla="*/ 3429267 w 5920103"/>
              <a:gd name="connsiteY9" fmla="*/ 6875680 h 6888901"/>
              <a:gd name="connsiteX10" fmla="*/ 3219512 w 5920103"/>
              <a:gd name="connsiteY10" fmla="*/ 6869354 h 6888901"/>
              <a:gd name="connsiteX11" fmla="*/ 464211 w 5920103"/>
              <a:gd name="connsiteY11" fmla="*/ 5163415 h 6888901"/>
              <a:gd name="connsiteX12" fmla="*/ 458834 w 5920103"/>
              <a:gd name="connsiteY12" fmla="*/ 1722175 h 6888901"/>
              <a:gd name="connsiteX13" fmla="*/ 3208791 w 5920103"/>
              <a:gd name="connsiteY13" fmla="*/ 7637 h 6888901"/>
              <a:gd name="connsiteX14" fmla="*/ 3429267 w 5920103"/>
              <a:gd name="connsiteY14" fmla="*/ 298 h 6888901"/>
              <a:gd name="connsiteX15" fmla="*/ 3429267 w 5920103"/>
              <a:gd name="connsiteY15" fmla="*/ 0 h 688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20103" h="6888901">
                <a:moveTo>
                  <a:pt x="3429267" y="0"/>
                </a:moveTo>
                <a:lnTo>
                  <a:pt x="4040840" y="0"/>
                </a:lnTo>
                <a:lnTo>
                  <a:pt x="4040840" y="9142"/>
                </a:lnTo>
                <a:lnTo>
                  <a:pt x="4277575" y="9142"/>
                </a:lnTo>
                <a:lnTo>
                  <a:pt x="4277575" y="9141"/>
                </a:lnTo>
                <a:lnTo>
                  <a:pt x="5920103" y="9141"/>
                </a:lnTo>
                <a:lnTo>
                  <a:pt x="5920103" y="6886328"/>
                </a:lnTo>
                <a:lnTo>
                  <a:pt x="3880032" y="6888901"/>
                </a:lnTo>
                <a:lnTo>
                  <a:pt x="3429267" y="6876288"/>
                </a:lnTo>
                <a:lnTo>
                  <a:pt x="3429267" y="6875680"/>
                </a:lnTo>
                <a:lnTo>
                  <a:pt x="3219512" y="6869354"/>
                </a:lnTo>
                <a:cubicBezTo>
                  <a:pt x="2079060" y="6796873"/>
                  <a:pt x="1042669" y="6160531"/>
                  <a:pt x="464211" y="5163415"/>
                </a:cubicBezTo>
                <a:cubicBezTo>
                  <a:pt x="-152812" y="4099825"/>
                  <a:pt x="-154861" y="2787689"/>
                  <a:pt x="458834" y="1722175"/>
                </a:cubicBezTo>
                <a:cubicBezTo>
                  <a:pt x="1034173" y="723258"/>
                  <a:pt x="2068572" y="83682"/>
                  <a:pt x="3208791" y="7637"/>
                </a:cubicBezTo>
                <a:lnTo>
                  <a:pt x="3429267" y="298"/>
                </a:lnTo>
                <a:lnTo>
                  <a:pt x="3429267"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554480" tIns="2194560" rIns="1188720">
            <a:noAutofit/>
          </a:bodyPr>
          <a:lstStyle>
            <a:lvl1pPr marL="0" indent="0" algn="ctr">
              <a:buNone/>
              <a:defRPr sz="1800">
                <a:solidFill>
                  <a:schemeClr val="accent1"/>
                </a:solidFill>
              </a:defRPr>
            </a:lvl1pPr>
          </a:lstStyle>
          <a:p>
            <a:r>
              <a:rPr lang="en-GB" dirty="0"/>
              <a:t>Drag picture to placeholder or click icon to add.</a:t>
            </a:r>
            <a:endParaRPr lang="en-US" dirty="0"/>
          </a:p>
        </p:txBody>
      </p:sp>
      <p:pic>
        <p:nvPicPr>
          <p:cNvPr id="6" name="Graphic 5">
            <a:extLst>
              <a:ext uri="{FF2B5EF4-FFF2-40B4-BE49-F238E27FC236}">
                <a16:creationId xmlns:a16="http://schemas.microsoft.com/office/drawing/2014/main" id="{93532156-184E-4866-D6E4-303E73FF01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0486" y="593548"/>
            <a:ext cx="2834640" cy="485384"/>
          </a:xfrm>
          <a:prstGeom prst="rect">
            <a:avLst/>
          </a:prstGeom>
        </p:spPr>
      </p:pic>
    </p:spTree>
    <p:extLst>
      <p:ext uri="{BB962C8B-B14F-4D97-AF65-F5344CB8AC3E}">
        <p14:creationId xmlns:p14="http://schemas.microsoft.com/office/powerpoint/2010/main" val="3854970647"/>
      </p:ext>
    </p:extLst>
  </p:cSld>
  <p:clrMapOvr>
    <a:masterClrMapping/>
  </p:clrMapOvr>
  <p:hf hdr="0" dt="0"/>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Title Slide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endParaRPr lang="en-US" dirty="0"/>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E27841C-7B5C-3442-9B0A-373C471D7760}" type="slidenum">
              <a:rPr lang="en-US" smtClean="0"/>
              <a:pPr>
                <a:defRPr/>
              </a:pPr>
              <a:t>‹#›</a:t>
            </a:fld>
            <a:endParaRPr lang="en-US" dirty="0"/>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2 Comcast.  All rights reserved.</a:t>
            </a:r>
            <a:endParaRPr lang="en-US" dirty="0"/>
          </a:p>
        </p:txBody>
      </p:sp>
      <p:sp>
        <p:nvSpPr>
          <p:cNvPr id="9" name="Freeform 8">
            <a:extLst>
              <a:ext uri="{FF2B5EF4-FFF2-40B4-BE49-F238E27FC236}">
                <a16:creationId xmlns:a16="http://schemas.microsoft.com/office/drawing/2014/main" id="{ACB0759A-FE16-52B0-954C-A43DA66BC1DD}"/>
              </a:ext>
            </a:extLst>
          </p:cNvPr>
          <p:cNvSpPr/>
          <p:nvPr/>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7151E7D3-9793-A945-DBB8-41C6192B349A}"/>
              </a:ext>
            </a:extLst>
          </p:cNvPr>
          <p:cNvSpPr>
            <a:spLocks noGrp="1"/>
          </p:cNvSpPr>
          <p:nvPr>
            <p:ph type="dt" sz="half" idx="12"/>
          </p:nvPr>
        </p:nvSpPr>
        <p:spPr>
          <a:xfrm>
            <a:off x="457200" y="6107578"/>
            <a:ext cx="4114799" cy="274320"/>
          </a:xfrm>
          <a:prstGeom prst="rect">
            <a:avLst/>
          </a:prstGeom>
        </p:spPr>
        <p:txBody>
          <a:bodyPr lIns="0" tIns="0" rIns="0" bIns="0">
            <a:noAutofit/>
          </a:bodyPr>
          <a:lstStyle>
            <a:lvl1pPr>
              <a:defRPr sz="1400">
                <a:solidFill>
                  <a:schemeClr val="accent2"/>
                </a:solidFill>
              </a:defRPr>
            </a:lvl1pPr>
          </a:lstStyle>
          <a:p>
            <a:pPr>
              <a:defRPr/>
            </a:pPr>
            <a:endParaRPr lang="en-US" dirty="0"/>
          </a:p>
        </p:txBody>
      </p:sp>
    </p:spTree>
    <p:extLst>
      <p:ext uri="{BB962C8B-B14F-4D97-AF65-F5344CB8AC3E}">
        <p14:creationId xmlns:p14="http://schemas.microsoft.com/office/powerpoint/2010/main" val="2347002331"/>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Section 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endParaRPr lang="en-US" dirty="0"/>
          </a:p>
        </p:txBody>
      </p:sp>
      <p:sp>
        <p:nvSpPr>
          <p:cNvPr id="3" name="Text Placeholder 2"/>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Slide Number Placeholder 5">
            <a:extLst>
              <a:ext uri="{FF2B5EF4-FFF2-40B4-BE49-F238E27FC236}">
                <a16:creationId xmlns:a16="http://schemas.microsoft.com/office/drawing/2014/main" id="{577A0D8B-1D3E-F6EA-5B2E-C53771D309BA}"/>
              </a:ext>
            </a:extLst>
          </p:cNvPr>
          <p:cNvSpPr>
            <a:spLocks noGrp="1"/>
          </p:cNvSpPr>
          <p:nvPr>
            <p:ph type="sldNum" sz="quarter" idx="10"/>
          </p:nvPr>
        </p:nvSpPr>
        <p:spPr/>
        <p:txBody>
          <a:bodyPr/>
          <a:lstStyle>
            <a:lvl1pPr>
              <a:defRPr>
                <a:solidFill>
                  <a:schemeClr val="accent2"/>
                </a:solidFill>
              </a:defRPr>
            </a:lvl1pPr>
          </a:lstStyle>
          <a:p>
            <a:pPr>
              <a:defRPr/>
            </a:pPr>
            <a:fld id="{EE27841C-7B5C-3442-9B0A-373C471D7760}" type="slidenum">
              <a:rPr lang="en-US" smtClean="0"/>
              <a:pPr>
                <a:defRPr/>
              </a:pPr>
              <a:t>‹#›</a:t>
            </a:fld>
            <a:endParaRPr lang="en-US" dirty="0"/>
          </a:p>
        </p:txBody>
      </p:sp>
      <p:sp>
        <p:nvSpPr>
          <p:cNvPr id="6" name="Footer Placeholder 4">
            <a:extLst>
              <a:ext uri="{FF2B5EF4-FFF2-40B4-BE49-F238E27FC236}">
                <a16:creationId xmlns:a16="http://schemas.microsoft.com/office/drawing/2014/main" id="{F59C2888-9FE2-8C71-954F-1E30CF83D8E4}"/>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bg2"/>
                </a:solidFill>
                <a:latin typeface="+mn-lt"/>
              </a:defRPr>
            </a:lvl1pPr>
          </a:lstStyle>
          <a:p>
            <a:pPr>
              <a:defRPr/>
            </a:pPr>
            <a:r>
              <a:rPr lang="en-US"/>
              <a:t>© 2022 Comcast.  All rights reserved.</a:t>
            </a:r>
            <a:endParaRPr lang="en-US" dirty="0"/>
          </a:p>
        </p:txBody>
      </p:sp>
      <p:sp>
        <p:nvSpPr>
          <p:cNvPr id="9" name="Freeform 8">
            <a:extLst>
              <a:ext uri="{FF2B5EF4-FFF2-40B4-BE49-F238E27FC236}">
                <a16:creationId xmlns:a16="http://schemas.microsoft.com/office/drawing/2014/main" id="{ACB0759A-FE16-52B0-954C-A43DA66BC1DD}"/>
              </a:ext>
            </a:extLst>
          </p:cNvPr>
          <p:cNvSpPr/>
          <p:nvPr/>
        </p:nvSpPr>
        <p:spPr>
          <a:xfrm>
            <a:off x="9983595" y="5254908"/>
            <a:ext cx="1982224" cy="1603093"/>
          </a:xfrm>
          <a:custGeom>
            <a:avLst/>
            <a:gdLst>
              <a:gd name="connsiteX0" fmla="*/ 991112 w 1982224"/>
              <a:gd name="connsiteY0" fmla="*/ 0 h 1603093"/>
              <a:gd name="connsiteX1" fmla="*/ 1982224 w 1982224"/>
              <a:gd name="connsiteY1" fmla="*/ 991112 h 1603093"/>
              <a:gd name="connsiteX2" fmla="*/ 1812958 w 1982224"/>
              <a:gd name="connsiteY2" fmla="*/ 1545252 h 1603093"/>
              <a:gd name="connsiteX3" fmla="*/ 1765235 w 1982224"/>
              <a:gd name="connsiteY3" fmla="*/ 1603093 h 1603093"/>
              <a:gd name="connsiteX4" fmla="*/ 216990 w 1982224"/>
              <a:gd name="connsiteY4" fmla="*/ 1603093 h 1603093"/>
              <a:gd name="connsiteX5" fmla="*/ 169267 w 1982224"/>
              <a:gd name="connsiteY5" fmla="*/ 1545252 h 1603093"/>
              <a:gd name="connsiteX6" fmla="*/ 0 w 1982224"/>
              <a:gd name="connsiteY6" fmla="*/ 991112 h 1603093"/>
              <a:gd name="connsiteX7" fmla="*/ 991112 w 1982224"/>
              <a:gd name="connsiteY7" fmla="*/ 0 h 160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2224" h="1603093">
                <a:moveTo>
                  <a:pt x="991112" y="0"/>
                </a:moveTo>
                <a:cubicBezTo>
                  <a:pt x="1538488" y="0"/>
                  <a:pt x="1982224" y="443736"/>
                  <a:pt x="1982224" y="991112"/>
                </a:cubicBezTo>
                <a:cubicBezTo>
                  <a:pt x="1982224" y="1196378"/>
                  <a:pt x="1919824" y="1387070"/>
                  <a:pt x="1812958" y="1545252"/>
                </a:cubicBezTo>
                <a:lnTo>
                  <a:pt x="1765235" y="1603093"/>
                </a:lnTo>
                <a:lnTo>
                  <a:pt x="216990" y="1603093"/>
                </a:lnTo>
                <a:lnTo>
                  <a:pt x="169267" y="1545252"/>
                </a:lnTo>
                <a:cubicBezTo>
                  <a:pt x="62401" y="1387070"/>
                  <a:pt x="0" y="1196378"/>
                  <a:pt x="0" y="991112"/>
                </a:cubicBezTo>
                <a:cubicBezTo>
                  <a:pt x="0" y="443736"/>
                  <a:pt x="443736" y="0"/>
                  <a:pt x="99111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03817261"/>
      </p:ext>
    </p:extLst>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10_Title Slide 2">
    <p:bg>
      <p:bgPr>
        <a:solidFill>
          <a:schemeClr val="accent3"/>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1246520B-AE11-113E-2C7D-05E324FE73EF}"/>
              </a:ext>
            </a:extLst>
          </p:cNvPr>
          <p:cNvSpPr/>
          <p:nvPr/>
        </p:nvSpPr>
        <p:spPr>
          <a:xfrm rot="5400000">
            <a:off x="2667000" y="-2667000"/>
            <a:ext cx="6858000" cy="12192000"/>
          </a:xfrm>
          <a:custGeom>
            <a:avLst/>
            <a:gdLst>
              <a:gd name="connsiteX0" fmla="*/ 0 w 6858000"/>
              <a:gd name="connsiteY0" fmla="*/ 12192000 h 12192000"/>
              <a:gd name="connsiteX1" fmla="*/ 0 w 6858000"/>
              <a:gd name="connsiteY1" fmla="*/ 0 h 12192000"/>
              <a:gd name="connsiteX2" fmla="*/ 2374132 w 6858000"/>
              <a:gd name="connsiteY2" fmla="*/ 0 h 12192000"/>
              <a:gd name="connsiteX3" fmla="*/ 2487876 w 6858000"/>
              <a:gd name="connsiteY3" fmla="*/ 32300 h 12192000"/>
              <a:gd name="connsiteX4" fmla="*/ 6858000 w 6858000"/>
              <a:gd name="connsiteY4" fmla="*/ 5972338 h 12192000"/>
              <a:gd name="connsiteX5" fmla="*/ 6858000 w 6858000"/>
              <a:gd name="connsiteY5" fmla="*/ 1219200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8000" h="12192000">
                <a:moveTo>
                  <a:pt x="0" y="12192000"/>
                </a:moveTo>
                <a:lnTo>
                  <a:pt x="0" y="0"/>
                </a:lnTo>
                <a:lnTo>
                  <a:pt x="2374132" y="0"/>
                </a:lnTo>
                <a:lnTo>
                  <a:pt x="2487876" y="32300"/>
                </a:lnTo>
                <a:cubicBezTo>
                  <a:pt x="5019704" y="819780"/>
                  <a:pt x="6858000" y="3181381"/>
                  <a:pt x="6858000" y="5972338"/>
                </a:cubicBezTo>
                <a:lnTo>
                  <a:pt x="6858000" y="12192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5">
            <a:extLst>
              <a:ext uri="{FF2B5EF4-FFF2-40B4-BE49-F238E27FC236}">
                <a16:creationId xmlns:a16="http://schemas.microsoft.com/office/drawing/2014/main" id="{8B3ADEC0-A32E-6893-2E3F-FB07C4CC3B2E}"/>
              </a:ext>
            </a:extLst>
          </p:cNvPr>
          <p:cNvSpPr>
            <a:spLocks noGrp="1"/>
          </p:cNvSpPr>
          <p:nvPr>
            <p:ph type="sldNum" sz="quarter" idx="10"/>
          </p:nvPr>
        </p:nvSpPr>
        <p:spPr>
          <a:xfrm>
            <a:off x="11341100" y="6424613"/>
            <a:ext cx="393700" cy="200025"/>
          </a:xfrm>
        </p:spPr>
        <p:txBody>
          <a:bodyPr/>
          <a:lstStyle>
            <a:lvl1pPr>
              <a:defRPr baseline="0">
                <a:solidFill>
                  <a:schemeClr val="tx2"/>
                </a:solidFill>
              </a:defRPr>
            </a:lvl1pPr>
          </a:lstStyle>
          <a:p>
            <a:pPr>
              <a:defRPr/>
            </a:pPr>
            <a:fld id="{EE27841C-7B5C-3442-9B0A-373C471D7760}" type="slidenum">
              <a:rPr lang="en-US" smtClean="0"/>
              <a:pPr>
                <a:defRPr/>
              </a:pPr>
              <a:t>‹#›</a:t>
            </a:fld>
            <a:endParaRPr lang="en-US" dirty="0"/>
          </a:p>
        </p:txBody>
      </p:sp>
      <p:sp>
        <p:nvSpPr>
          <p:cNvPr id="4" name="Footer Placeholder 4">
            <a:extLst>
              <a:ext uri="{FF2B5EF4-FFF2-40B4-BE49-F238E27FC236}">
                <a16:creationId xmlns:a16="http://schemas.microsoft.com/office/drawing/2014/main" id="{53679675-1C7E-31F5-9D31-B7EECD6AD1A2}"/>
              </a:ext>
            </a:extLst>
          </p:cNvPr>
          <p:cNvSpPr>
            <a:spLocks noGrp="1"/>
          </p:cNvSpPr>
          <p:nvPr>
            <p:ph type="ftr" sz="quarter" idx="11"/>
          </p:nvPr>
        </p:nvSpPr>
        <p:spPr>
          <a:xfrm>
            <a:off x="463550" y="6427788"/>
            <a:ext cx="4114800" cy="198437"/>
          </a:xfrm>
        </p:spPr>
        <p:txBody>
          <a:bodyPr/>
          <a:lstStyle>
            <a:lvl1pPr algn="l" eaLnBrk="1" fontAlgn="auto" hangingPunct="1">
              <a:spcBef>
                <a:spcPts val="0"/>
              </a:spcBef>
              <a:spcAft>
                <a:spcPts val="0"/>
              </a:spcAft>
              <a:defRPr sz="800" baseline="0">
                <a:solidFill>
                  <a:schemeClr val="bg2"/>
                </a:solidFill>
                <a:latin typeface="+mn-lt"/>
              </a:defRPr>
            </a:lvl1pPr>
          </a:lstStyle>
          <a:p>
            <a:pPr>
              <a:defRPr/>
            </a:pPr>
            <a:r>
              <a:rPr lang="en-US"/>
              <a:t>© 2022 Comcast.  All rights reserved.</a:t>
            </a:r>
            <a:endParaRPr lang="en-US" dirty="0"/>
          </a:p>
        </p:txBody>
      </p:sp>
      <p:sp>
        <p:nvSpPr>
          <p:cNvPr id="2" name="Text Placeholder 2">
            <a:extLst>
              <a:ext uri="{FF2B5EF4-FFF2-40B4-BE49-F238E27FC236}">
                <a16:creationId xmlns:a16="http://schemas.microsoft.com/office/drawing/2014/main" id="{FD7C8E83-C5C8-A695-DC1B-3E376997B5F3}"/>
              </a:ext>
            </a:extLst>
          </p:cNvPr>
          <p:cNvSpPr>
            <a:spLocks noGrp="1"/>
          </p:cNvSpPr>
          <p:nvPr>
            <p:ph type="body" idx="1"/>
          </p:nvPr>
        </p:nvSpPr>
        <p:spPr>
          <a:xfrm>
            <a:off x="432618" y="4101321"/>
            <a:ext cx="8401818" cy="641350"/>
          </a:xfrm>
          <a:prstGeom prst="rect">
            <a:avLst/>
          </a:prstGeom>
        </p:spPr>
        <p:txBody>
          <a:bodyPr/>
          <a:lstStyle>
            <a:lvl1pPr marL="0" indent="0">
              <a:buNone/>
              <a:defRPr sz="240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itle 1">
            <a:extLst>
              <a:ext uri="{FF2B5EF4-FFF2-40B4-BE49-F238E27FC236}">
                <a16:creationId xmlns:a16="http://schemas.microsoft.com/office/drawing/2014/main" id="{CFA85FB5-11D3-CCC2-23B8-58132C743222}"/>
              </a:ext>
            </a:extLst>
          </p:cNvPr>
          <p:cNvSpPr>
            <a:spLocks noGrp="1"/>
          </p:cNvSpPr>
          <p:nvPr>
            <p:ph type="title"/>
          </p:nvPr>
        </p:nvSpPr>
        <p:spPr>
          <a:xfrm>
            <a:off x="422788" y="685800"/>
            <a:ext cx="8411651" cy="2971800"/>
          </a:xfrm>
          <a:prstGeom prst="rect">
            <a:avLst/>
          </a:prstGeom>
        </p:spPr>
        <p:txBody>
          <a:bodyPr anchor="b"/>
          <a:lstStyle>
            <a:lvl1pPr>
              <a:defRPr sz="5400" b="1" i="0">
                <a:solidFill>
                  <a:schemeClr val="bg2"/>
                </a:solidFill>
                <a:latin typeface="Montserrat SemiBold" pitchFamily="2" charset="77"/>
              </a:defRPr>
            </a:lvl1pPr>
          </a:lstStyle>
          <a:p>
            <a:r>
              <a:rPr lang="en-US"/>
              <a:t>Click to edit Master title style</a:t>
            </a:r>
            <a:endParaRPr lang="en-US" dirty="0"/>
          </a:p>
        </p:txBody>
      </p:sp>
      <p:pic>
        <p:nvPicPr>
          <p:cNvPr id="7" name="Graphic 6">
            <a:extLst>
              <a:ext uri="{FF2B5EF4-FFF2-40B4-BE49-F238E27FC236}">
                <a16:creationId xmlns:a16="http://schemas.microsoft.com/office/drawing/2014/main" id="{55F41812-A138-800F-D871-6451D27DB2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3860332779"/>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userDrawn="1"/>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userDrawn="1"/>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a:t>Drag picture to placeholder</a:t>
            </a:r>
            <a:br>
              <a:rPr lang="en-US"/>
            </a:br>
            <a:r>
              <a:rPr lang="en-US"/>
              <a:t>or click icon to add.</a:t>
            </a:r>
          </a:p>
        </p:txBody>
      </p:sp>
    </p:spTree>
    <p:extLst>
      <p:ext uri="{BB962C8B-B14F-4D97-AF65-F5344CB8AC3E}">
        <p14:creationId xmlns:p14="http://schemas.microsoft.com/office/powerpoint/2010/main" val="386590236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ntent Slide - Full Width">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dirty="0"/>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rgbClr val="000000"/>
                </a:solidFill>
                <a:latin typeface="Montserrat" panose="00000500000000000000" pitchFamily="2" charset="0"/>
              </a:rPr>
              <a:t>© 2023 Comcast. All rights reserved.</a:t>
            </a:r>
          </a:p>
        </p:txBody>
      </p:sp>
      <p:sp>
        <p:nvSpPr>
          <p:cNvPr id="4" name="TextBox 3">
            <a:extLst>
              <a:ext uri="{FF2B5EF4-FFF2-40B4-BE49-F238E27FC236}">
                <a16:creationId xmlns:a16="http://schemas.microsoft.com/office/drawing/2014/main" id="{34076048-A084-2690-A758-5141F944DC5A}"/>
              </a:ext>
            </a:extLst>
          </p:cNvPr>
          <p:cNvSpPr txBox="1"/>
          <p:nvPr/>
        </p:nvSpPr>
        <p:spPr>
          <a:xfrm>
            <a:off x="8910797" y="6591044"/>
            <a:ext cx="0" cy="0"/>
          </a:xfrm>
          <a:prstGeom prst="rect">
            <a:avLst/>
          </a:prstGeom>
          <a:noFill/>
        </p:spPr>
        <p:txBody>
          <a:bodyPr wrap="none" lIns="0" tIns="0" rIns="0" bIns="0" rtlCol="0">
            <a:noAutofit/>
          </a:bodyPr>
          <a:lstStyle/>
          <a:p>
            <a:pPr algn="l"/>
            <a:endParaRPr lang="en-US" dirty="0"/>
          </a:p>
        </p:txBody>
      </p:sp>
    </p:spTree>
    <p:extLst>
      <p:ext uri="{BB962C8B-B14F-4D97-AF65-F5344CB8AC3E}">
        <p14:creationId xmlns:p14="http://schemas.microsoft.com/office/powerpoint/2010/main" val="1418362175"/>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ontent Slide - Blue">
    <p:bg>
      <p:bgPr>
        <a:solidFill>
          <a:schemeClr val="accent1"/>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chemeClr val="bg2"/>
                </a:solidFill>
                <a:latin typeface="Montserrat" panose="00000500000000000000" pitchFamily="2" charset="0"/>
              </a:rPr>
              <a:t>© 2023 Comcast. All rights reserved.</a:t>
            </a:r>
          </a:p>
        </p:txBody>
      </p:sp>
      <p:pic>
        <p:nvPicPr>
          <p:cNvPr id="2" name="Graphic 1">
            <a:extLst>
              <a:ext uri="{FF2B5EF4-FFF2-40B4-BE49-F238E27FC236}">
                <a16:creationId xmlns:a16="http://schemas.microsoft.com/office/drawing/2014/main" id="{9E805D0F-B683-BAC2-AF31-6A80D13568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2977738858"/>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Content Slide - Blue">
    <p:bg>
      <p:bgPr>
        <a:solidFill>
          <a:schemeClr val="tx2"/>
        </a:solidFill>
        <a:effectLst/>
      </p:bgPr>
    </p:bg>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chemeClr val="bg2"/>
                </a:solidFill>
                <a:latin typeface="Montserrat" panose="00000500000000000000" pitchFamily="2" charset="0"/>
              </a:rPr>
              <a:t>© 2023 Comcast. All rights reserved.</a:t>
            </a:r>
          </a:p>
        </p:txBody>
      </p:sp>
      <p:pic>
        <p:nvPicPr>
          <p:cNvPr id="2" name="Graphic 1">
            <a:extLst>
              <a:ext uri="{FF2B5EF4-FFF2-40B4-BE49-F238E27FC236}">
                <a16:creationId xmlns:a16="http://schemas.microsoft.com/office/drawing/2014/main" id="{9E805D0F-B683-BAC2-AF31-6A80D13568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3502768524"/>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ontent Slide - Blue">
    <p:bg>
      <p:bgPr>
        <a:solidFill>
          <a:schemeClr val="accent1"/>
        </a:solidFill>
        <a:effectLst/>
      </p:bgPr>
    </p:bg>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11271250" cy="4872162"/>
          </a:xfrm>
          <a:prstGeom prst="rect">
            <a:avLst/>
          </a:prstGeom>
        </p:spPr>
        <p:txBody>
          <a:bodyPr lIns="0" tIns="0" rIns="0" bIns="0"/>
          <a:lstStyle>
            <a:lvl1pPr marL="0" indent="0" algn="l">
              <a:buNone/>
              <a:defRPr sz="1800" b="0" i="0">
                <a:solidFill>
                  <a:schemeClr val="bg2"/>
                </a:solidFill>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solidFill>
                  <a:schemeClr val="bg2"/>
                </a:solidFill>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solidFill>
                  <a:schemeClr val="bg2"/>
                </a:solidFill>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solidFill>
                  <a:schemeClr val="bg2"/>
                </a:solidFill>
                <a:latin typeface="Montserrat Light" pitchFamily="2" charset="77"/>
                <a:cs typeface="Montserrat Light" pitchFamily="2" charset="77"/>
              </a:defRPr>
            </a:lvl4pPr>
            <a:lvl5pPr marL="1108710" indent="-285750" algn="l">
              <a:defRPr lang="en-US" sz="1400" b="0" i="0" u="none" strike="noStrike" cap="none" spc="0" baseline="0" dirty="0">
                <a:solidFill>
                  <a:schemeClr val="bg2"/>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chemeClr val="bg2"/>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bg2"/>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dirty="0"/>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chemeClr val="bg2"/>
                </a:solidFill>
                <a:latin typeface="Montserrat" panose="00000500000000000000" pitchFamily="2" charset="0"/>
              </a:rPr>
              <a:pPr>
                <a:defRPr/>
              </a:pPr>
              <a:t>‹#›</a:t>
            </a:fld>
            <a:endParaRPr lang="en-US">
              <a:solidFill>
                <a:schemeClr val="bg2"/>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dirty="0">
                <a:solidFill>
                  <a:schemeClr val="bg2"/>
                </a:solidFill>
                <a:latin typeface="Montserrat" panose="00000500000000000000" pitchFamily="2" charset="0"/>
              </a:rPr>
              <a:t>© 2023 Comcast. All rights reserved.</a:t>
            </a:r>
          </a:p>
        </p:txBody>
      </p:sp>
      <p:pic>
        <p:nvPicPr>
          <p:cNvPr id="2" name="Graphic 1">
            <a:extLst>
              <a:ext uri="{FF2B5EF4-FFF2-40B4-BE49-F238E27FC236}">
                <a16:creationId xmlns:a16="http://schemas.microsoft.com/office/drawing/2014/main" id="{9E805D0F-B683-BAC2-AF31-6A80D13568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3997908682"/>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ontent Slide - 2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6311030" y="1097280"/>
            <a:ext cx="540489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3942569"/>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ontent Slide - 3 Col">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8157"/>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2" name="Text Placeholder 5">
            <a:extLst>
              <a:ext uri="{FF2B5EF4-FFF2-40B4-BE49-F238E27FC236}">
                <a16:creationId xmlns:a16="http://schemas.microsoft.com/office/drawing/2014/main" id="{BCB3DDCC-4426-368A-BBF2-922CA573617E}"/>
              </a:ext>
            </a:extLst>
          </p:cNvPr>
          <p:cNvSpPr>
            <a:spLocks noGrp="1"/>
          </p:cNvSpPr>
          <p:nvPr>
            <p:ph type="body" sz="quarter" idx="27"/>
          </p:nvPr>
        </p:nvSpPr>
        <p:spPr>
          <a:xfrm>
            <a:off x="4410315"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5">
            <a:extLst>
              <a:ext uri="{FF2B5EF4-FFF2-40B4-BE49-F238E27FC236}">
                <a16:creationId xmlns:a16="http://schemas.microsoft.com/office/drawing/2014/main" id="{9C5DFF84-72FE-DA83-3BB4-8E059109D3A6}"/>
              </a:ext>
            </a:extLst>
          </p:cNvPr>
          <p:cNvSpPr>
            <a:spLocks noGrp="1"/>
          </p:cNvSpPr>
          <p:nvPr>
            <p:ph type="body" sz="quarter" idx="28"/>
          </p:nvPr>
        </p:nvSpPr>
        <p:spPr>
          <a:xfrm>
            <a:off x="8357081" y="1097280"/>
            <a:ext cx="3377719"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6663459"/>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Content Slide - 2 Col w/Im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6BF55EDC-BBBD-F836-4AB9-EC5630072DD8}"/>
              </a:ext>
            </a:extLst>
          </p:cNvPr>
          <p:cNvSpPr>
            <a:spLocks noGrp="1"/>
          </p:cNvSpPr>
          <p:nvPr>
            <p:ph type="pic" sz="quarter" idx="27" hasCustomPrompt="1"/>
          </p:nvPr>
        </p:nvSpPr>
        <p:spPr>
          <a:xfrm>
            <a:off x="6580832" y="1363248"/>
            <a:ext cx="5611169" cy="4606194"/>
          </a:xfrm>
          <a:custGeom>
            <a:avLst/>
            <a:gdLst>
              <a:gd name="connsiteX0" fmla="*/ 2303097 w 5611169"/>
              <a:gd name="connsiteY0" fmla="*/ 0 h 4606194"/>
              <a:gd name="connsiteX1" fmla="*/ 5611169 w 5611169"/>
              <a:gd name="connsiteY1" fmla="*/ 0 h 4606194"/>
              <a:gd name="connsiteX2" fmla="*/ 5611169 w 5611169"/>
              <a:gd name="connsiteY2" fmla="*/ 4606194 h 4606194"/>
              <a:gd name="connsiteX3" fmla="*/ 2303097 w 5611169"/>
              <a:gd name="connsiteY3" fmla="*/ 4606194 h 4606194"/>
              <a:gd name="connsiteX4" fmla="*/ 0 w 5611169"/>
              <a:gd name="connsiteY4" fmla="*/ 2303097 h 4606194"/>
              <a:gd name="connsiteX5" fmla="*/ 2303097 w 5611169"/>
              <a:gd name="connsiteY5" fmla="*/ 0 h 460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169" h="4606194">
                <a:moveTo>
                  <a:pt x="2303097" y="0"/>
                </a:moveTo>
                <a:lnTo>
                  <a:pt x="5611169" y="0"/>
                </a:lnTo>
                <a:lnTo>
                  <a:pt x="5611169" y="4606194"/>
                </a:lnTo>
                <a:lnTo>
                  <a:pt x="2303097" y="4606194"/>
                </a:lnTo>
                <a:cubicBezTo>
                  <a:pt x="1031132" y="4606194"/>
                  <a:pt x="0" y="3575062"/>
                  <a:pt x="0" y="2303097"/>
                </a:cubicBezTo>
                <a:cubicBezTo>
                  <a:pt x="0" y="1031132"/>
                  <a:pt x="1031132" y="0"/>
                  <a:pt x="2303097" y="0"/>
                </a:cubicBez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dirty="0"/>
              <a:t>Drag picture to placeholder</a:t>
            </a:r>
            <a:br>
              <a:rPr lang="en-US" dirty="0"/>
            </a:br>
            <a:r>
              <a:rPr lang="en-US" dirty="0"/>
              <a:t>or click icon to add.</a:t>
            </a:r>
          </a:p>
        </p:txBody>
      </p:sp>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463550" y="1363248"/>
            <a:ext cx="5632450" cy="4606194"/>
          </a:xfrm>
          <a:prstGeom prst="rect">
            <a:avLst/>
          </a:prstGeom>
        </p:spPr>
        <p:txBody>
          <a:bodyPr lIns="0" tIns="0" rIns="0" bIns="0" anchor="t"/>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Tree>
    <p:extLst>
      <p:ext uri="{BB962C8B-B14F-4D97-AF65-F5344CB8AC3E}">
        <p14:creationId xmlns:p14="http://schemas.microsoft.com/office/powerpoint/2010/main" val="2426363534"/>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ntent Slide - 2 Col w/Image Left">
    <p:spTree>
      <p:nvGrpSpPr>
        <p:cNvPr id="1" name=""/>
        <p:cNvGrpSpPr/>
        <p:nvPr/>
      </p:nvGrpSpPr>
      <p:grpSpPr>
        <a:xfrm>
          <a:off x="0" y="0"/>
          <a:ext cx="0" cy="0"/>
          <a:chOff x="0" y="0"/>
          <a:chExt cx="0" cy="0"/>
        </a:xfrm>
      </p:grpSpPr>
      <p:sp>
        <p:nvSpPr>
          <p:cNvPr id="19" name="Text Placeholder 5">
            <a:extLst>
              <a:ext uri="{FF2B5EF4-FFF2-40B4-BE49-F238E27FC236}">
                <a16:creationId xmlns:a16="http://schemas.microsoft.com/office/drawing/2014/main" id="{3F686C8C-E081-5242-90B9-38796068D595}"/>
              </a:ext>
            </a:extLst>
          </p:cNvPr>
          <p:cNvSpPr>
            <a:spLocks noGrp="1"/>
          </p:cNvSpPr>
          <p:nvPr>
            <p:ph type="body" sz="quarter" idx="26"/>
          </p:nvPr>
        </p:nvSpPr>
        <p:spPr>
          <a:xfrm>
            <a:off x="6102349" y="1339033"/>
            <a:ext cx="5632450" cy="4630408"/>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a:extLst>
              <a:ext uri="{FF2B5EF4-FFF2-40B4-BE49-F238E27FC236}">
                <a16:creationId xmlns:a16="http://schemas.microsoft.com/office/drawing/2014/main" id="{F21AE09E-697C-FC45-9E96-2E45E76886AB}"/>
              </a:ext>
            </a:extLst>
          </p:cNvPr>
          <p:cNvSpPr>
            <a:spLocks noGrp="1"/>
          </p:cNvSpPr>
          <p:nvPr>
            <p:ph type="title"/>
          </p:nvPr>
        </p:nvSpPr>
        <p:spPr>
          <a:xfrm>
            <a:off x="463548" y="514928"/>
            <a:ext cx="11271251"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0" name="Text Placeholder 2">
            <a:extLst>
              <a:ext uri="{FF2B5EF4-FFF2-40B4-BE49-F238E27FC236}">
                <a16:creationId xmlns:a16="http://schemas.microsoft.com/office/drawing/2014/main" id="{E4AEF971-9BCB-1E42-9E22-F8D1F1044C95}"/>
              </a:ext>
            </a:extLst>
          </p:cNvPr>
          <p:cNvSpPr>
            <a:spLocks noGrp="1"/>
          </p:cNvSpPr>
          <p:nvPr>
            <p:ph type="body" sz="quarter" idx="25" hasCustomPrompt="1"/>
          </p:nvPr>
        </p:nvSpPr>
        <p:spPr>
          <a:xfrm>
            <a:off x="463548" y="255612"/>
            <a:ext cx="11271251"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8" name="Slide Number Placeholder 5">
            <a:extLst>
              <a:ext uri="{FF2B5EF4-FFF2-40B4-BE49-F238E27FC236}">
                <a16:creationId xmlns:a16="http://schemas.microsoft.com/office/drawing/2014/main" id="{3DB84E04-7731-345F-77EA-3F29E135A0BC}"/>
              </a:ext>
            </a:extLst>
          </p:cNvPr>
          <p:cNvSpPr txBox="1">
            <a:spLocks/>
          </p:cNvSpPr>
          <p:nvPr/>
        </p:nvSpPr>
        <p:spPr>
          <a:xfrm>
            <a:off x="11341100" y="6424613"/>
            <a:ext cx="393700" cy="200025"/>
          </a:xfrm>
          <a:prstGeom prst="rect">
            <a:avLst/>
          </a:prstGeom>
        </p:spPr>
        <p:txBody>
          <a:bodyPr vert="horz" lIns="0" tIns="0" rIns="0" bIns="0" rtlCol="0" anchor="ctr">
            <a:noAutofit/>
          </a:bodyPr>
          <a:lstStyle>
            <a:defPPr>
              <a:defRPr lang="en-US"/>
            </a:defPPr>
            <a:lvl1pPr algn="r" rtl="0" eaLnBrk="1" fontAlgn="auto" hangingPunct="1">
              <a:spcBef>
                <a:spcPts val="0"/>
              </a:spcBef>
              <a:spcAft>
                <a:spcPts val="0"/>
              </a:spcAft>
              <a:defRPr sz="800" kern="1200">
                <a:solidFill>
                  <a:schemeClr val="tx2"/>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fld id="{5F05AE8C-CF5F-4A4E-B69B-C9D8FA4EC18A}" type="slidenum">
              <a:rPr lang="en-US" smtClean="0">
                <a:solidFill>
                  <a:srgbClr val="112F64"/>
                </a:solidFill>
                <a:latin typeface="Montserrat" panose="00000500000000000000" pitchFamily="2" charset="0"/>
              </a:rPr>
              <a:pPr>
                <a:defRPr/>
              </a:pPr>
              <a:t>‹#›</a:t>
            </a:fld>
            <a:endParaRPr lang="en-US">
              <a:solidFill>
                <a:srgbClr val="112F64"/>
              </a:solidFill>
              <a:latin typeface="Montserrat" panose="00000500000000000000" pitchFamily="2" charset="0"/>
            </a:endParaRPr>
          </a:p>
        </p:txBody>
      </p:sp>
      <p:sp>
        <p:nvSpPr>
          <p:cNvPr id="11" name="Footer Placeholder 4">
            <a:extLst>
              <a:ext uri="{FF2B5EF4-FFF2-40B4-BE49-F238E27FC236}">
                <a16:creationId xmlns:a16="http://schemas.microsoft.com/office/drawing/2014/main" id="{75064991-9187-8694-627F-2FECE8244915}"/>
              </a:ext>
            </a:extLst>
          </p:cNvPr>
          <p:cNvSpPr txBox="1">
            <a:spLocks/>
          </p:cNvSpPr>
          <p:nvPr/>
        </p:nvSpPr>
        <p:spPr>
          <a:xfrm>
            <a:off x="463550" y="6427788"/>
            <a:ext cx="4114800" cy="198437"/>
          </a:xfrm>
          <a:prstGeom prst="rect">
            <a:avLst/>
          </a:prstGeom>
        </p:spPr>
        <p:txBody>
          <a:bodyPr vert="horz" lIns="0" tIns="0" rIns="0" bIns="0" rtlCol="0" anchor="ctr">
            <a:noAutofit/>
          </a:bodyPr>
          <a:lstStyle>
            <a:defPPr>
              <a:defRPr lang="en-US"/>
            </a:defPPr>
            <a:lvl1pPr algn="l" rtl="0" eaLnBrk="1" fontAlgn="auto" hangingPunct="1">
              <a:spcBef>
                <a:spcPts val="0"/>
              </a:spcBef>
              <a:spcAft>
                <a:spcPts val="0"/>
              </a:spcAft>
              <a:defRPr sz="800" kern="1200">
                <a:solidFill>
                  <a:schemeClr val="tx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Montserrat" pitchFamily="2" charset="0"/>
                <a:ea typeface="+mn-ea"/>
                <a:cs typeface="+mn-cs"/>
              </a:defRPr>
            </a:lvl2pPr>
            <a:lvl3pPr marL="914400" algn="l" rtl="0" eaLnBrk="0" fontAlgn="base" hangingPunct="0">
              <a:spcBef>
                <a:spcPct val="0"/>
              </a:spcBef>
              <a:spcAft>
                <a:spcPct val="0"/>
              </a:spcAft>
              <a:defRPr kern="1200">
                <a:solidFill>
                  <a:schemeClr val="tx1"/>
                </a:solidFill>
                <a:latin typeface="Montserrat" pitchFamily="2" charset="0"/>
                <a:ea typeface="+mn-ea"/>
                <a:cs typeface="+mn-cs"/>
              </a:defRPr>
            </a:lvl3pPr>
            <a:lvl4pPr marL="1371600" algn="l" rtl="0" eaLnBrk="0" fontAlgn="base" hangingPunct="0">
              <a:spcBef>
                <a:spcPct val="0"/>
              </a:spcBef>
              <a:spcAft>
                <a:spcPct val="0"/>
              </a:spcAft>
              <a:defRPr kern="1200">
                <a:solidFill>
                  <a:schemeClr val="tx1"/>
                </a:solidFill>
                <a:latin typeface="Montserrat" pitchFamily="2" charset="0"/>
                <a:ea typeface="+mn-ea"/>
                <a:cs typeface="+mn-cs"/>
              </a:defRPr>
            </a:lvl4pPr>
            <a:lvl5pPr marL="1828800" algn="l" rtl="0" eaLnBrk="0" fontAlgn="base" hangingPunct="0">
              <a:spcBef>
                <a:spcPct val="0"/>
              </a:spcBef>
              <a:spcAft>
                <a:spcPct val="0"/>
              </a:spcAft>
              <a:defRPr kern="1200">
                <a:solidFill>
                  <a:schemeClr val="tx1"/>
                </a:solidFill>
                <a:latin typeface="Montserrat" pitchFamily="2" charset="0"/>
                <a:ea typeface="+mn-ea"/>
                <a:cs typeface="+mn-cs"/>
              </a:defRPr>
            </a:lvl5pPr>
            <a:lvl6pPr marL="2286000" algn="l" defTabSz="914400" rtl="0" eaLnBrk="1" latinLnBrk="0" hangingPunct="1">
              <a:defRPr kern="1200">
                <a:solidFill>
                  <a:schemeClr val="tx1"/>
                </a:solidFill>
                <a:latin typeface="Montserrat" pitchFamily="2" charset="0"/>
                <a:ea typeface="+mn-ea"/>
                <a:cs typeface="+mn-cs"/>
              </a:defRPr>
            </a:lvl6pPr>
            <a:lvl7pPr marL="2743200" algn="l" defTabSz="914400" rtl="0" eaLnBrk="1" latinLnBrk="0" hangingPunct="1">
              <a:defRPr kern="1200">
                <a:solidFill>
                  <a:schemeClr val="tx1"/>
                </a:solidFill>
                <a:latin typeface="Montserrat" pitchFamily="2" charset="0"/>
                <a:ea typeface="+mn-ea"/>
                <a:cs typeface="+mn-cs"/>
              </a:defRPr>
            </a:lvl7pPr>
            <a:lvl8pPr marL="3200400" algn="l" defTabSz="914400" rtl="0" eaLnBrk="1" latinLnBrk="0" hangingPunct="1">
              <a:defRPr kern="1200">
                <a:solidFill>
                  <a:schemeClr val="tx1"/>
                </a:solidFill>
                <a:latin typeface="Montserrat" pitchFamily="2" charset="0"/>
                <a:ea typeface="+mn-ea"/>
                <a:cs typeface="+mn-cs"/>
              </a:defRPr>
            </a:lvl8pPr>
            <a:lvl9pPr marL="3657600" algn="l" defTabSz="914400" rtl="0" eaLnBrk="1" latinLnBrk="0" hangingPunct="1">
              <a:defRPr kern="1200">
                <a:solidFill>
                  <a:schemeClr val="tx1"/>
                </a:solidFill>
                <a:latin typeface="Montserrat" pitchFamily="2" charset="0"/>
                <a:ea typeface="+mn-ea"/>
                <a:cs typeface="+mn-cs"/>
              </a:defRPr>
            </a:lvl9pPr>
          </a:lstStyle>
          <a:p>
            <a:pPr>
              <a:defRPr/>
            </a:pPr>
            <a:r>
              <a:rPr lang="en-US">
                <a:solidFill>
                  <a:srgbClr val="000000"/>
                </a:solidFill>
                <a:latin typeface="Montserrat" panose="00000500000000000000" pitchFamily="2" charset="0"/>
              </a:rPr>
              <a:t>© 2023 Comcast. All rights reserved.</a:t>
            </a:r>
          </a:p>
        </p:txBody>
      </p:sp>
      <p:sp>
        <p:nvSpPr>
          <p:cNvPr id="5" name="Picture Placeholder 4">
            <a:extLst>
              <a:ext uri="{FF2B5EF4-FFF2-40B4-BE49-F238E27FC236}">
                <a16:creationId xmlns:a16="http://schemas.microsoft.com/office/drawing/2014/main" id="{D056465B-E1E1-AEA6-53A4-7E88177F3B48}"/>
              </a:ext>
            </a:extLst>
          </p:cNvPr>
          <p:cNvSpPr>
            <a:spLocks noGrp="1"/>
          </p:cNvSpPr>
          <p:nvPr>
            <p:ph type="pic" sz="quarter" idx="28" hasCustomPrompt="1"/>
          </p:nvPr>
        </p:nvSpPr>
        <p:spPr>
          <a:xfrm>
            <a:off x="0" y="1339034"/>
            <a:ext cx="5632450" cy="4630408"/>
          </a:xfrm>
          <a:custGeom>
            <a:avLst/>
            <a:gdLst>
              <a:gd name="connsiteX0" fmla="*/ 0 w 5632450"/>
              <a:gd name="connsiteY0" fmla="*/ 0 h 4630408"/>
              <a:gd name="connsiteX1" fmla="*/ 3317246 w 5632450"/>
              <a:gd name="connsiteY1" fmla="*/ 0 h 4630408"/>
              <a:gd name="connsiteX2" fmla="*/ 5632450 w 5632450"/>
              <a:gd name="connsiteY2" fmla="*/ 2315204 h 4630408"/>
              <a:gd name="connsiteX3" fmla="*/ 3317246 w 5632450"/>
              <a:gd name="connsiteY3" fmla="*/ 4630408 h 4630408"/>
              <a:gd name="connsiteX4" fmla="*/ 0 w 5632450"/>
              <a:gd name="connsiteY4" fmla="*/ 4630408 h 4630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2450" h="4630408">
                <a:moveTo>
                  <a:pt x="0" y="0"/>
                </a:moveTo>
                <a:lnTo>
                  <a:pt x="3317246" y="0"/>
                </a:lnTo>
                <a:cubicBezTo>
                  <a:pt x="4595898" y="0"/>
                  <a:pt x="5632450" y="1036552"/>
                  <a:pt x="5632450" y="2315204"/>
                </a:cubicBezTo>
                <a:cubicBezTo>
                  <a:pt x="5632450" y="3593856"/>
                  <a:pt x="4595898" y="4630408"/>
                  <a:pt x="3317246" y="4630408"/>
                </a:cubicBezTo>
                <a:lnTo>
                  <a:pt x="0" y="4630408"/>
                </a:lnTo>
                <a:close/>
              </a:path>
            </a:pathLst>
          </a:custGeom>
          <a:solidFill>
            <a:schemeClr val="bg1">
              <a:lumMod val="95000"/>
            </a:schemeClr>
          </a:solidFill>
        </p:spPr>
        <p:txBody>
          <a:bodyPr wrap="square" bIns="1371600" anchor="ctr">
            <a:noAutofit/>
          </a:bodyPr>
          <a:lstStyle>
            <a:lvl1pPr marL="0" marR="0" indent="0" algn="ctr" defTabSz="914400" rtl="0" eaLnBrk="1" fontAlgn="base" latinLnBrk="0" hangingPunct="1">
              <a:lnSpc>
                <a:spcPct val="95000"/>
              </a:lnSpc>
              <a:spcBef>
                <a:spcPts val="1000"/>
              </a:spcBef>
              <a:spcAft>
                <a:spcPct val="0"/>
              </a:spcAft>
              <a:buClrTx/>
              <a:buSzTx/>
              <a:buFont typeface="Arial" panose="020B0604020202020204" pitchFamily="34" charset="0"/>
              <a:buNone/>
              <a:tabLst/>
              <a:defRPr>
                <a:solidFill>
                  <a:schemeClr val="accent1"/>
                </a:solidFill>
              </a:defRPr>
            </a:lvl1pPr>
          </a:lstStyle>
          <a:p>
            <a:r>
              <a:rPr lang="en-US" dirty="0"/>
              <a:t>Drag picture to placeholder</a:t>
            </a:r>
            <a:br>
              <a:rPr lang="en-US" dirty="0"/>
            </a:br>
            <a:r>
              <a:rPr lang="en-US" dirty="0"/>
              <a:t>or click icon to add.</a:t>
            </a:r>
          </a:p>
        </p:txBody>
      </p:sp>
    </p:spTree>
    <p:extLst>
      <p:ext uri="{BB962C8B-B14F-4D97-AF65-F5344CB8AC3E}">
        <p14:creationId xmlns:p14="http://schemas.microsoft.com/office/powerpoint/2010/main" val="2684832302"/>
      </p:ext>
    </p:extLst>
  </p:cSld>
  <p:clrMapOvr>
    <a:masterClrMapping/>
  </p:clrMapOvr>
  <p:transition spd="med"/>
  <p:hf hdr="0" dt="0"/>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Content Slide - Spli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7505382-F8BD-461B-BB7E-B940074A4D28}"/>
              </a:ext>
            </a:extLst>
          </p:cNvPr>
          <p:cNvSpPr/>
          <p:nvPr/>
        </p:nvSpPr>
        <p:spPr>
          <a:xfrm>
            <a:off x="8186739" y="-9144"/>
            <a:ext cx="4005262" cy="6876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6666C29D-03F7-467C-85B3-28F7651F8315}"/>
              </a:ext>
            </a:extLst>
          </p:cNvPr>
          <p:cNvSpPr>
            <a:spLocks noGrp="1"/>
          </p:cNvSpPr>
          <p:nvPr>
            <p:ph type="ftr" sz="quarter" idx="11"/>
          </p:nvPr>
        </p:nvSpPr>
        <p:spPr/>
        <p:txBody>
          <a:bodyPr/>
          <a:lstStyle>
            <a:lvl1pPr>
              <a:defRPr>
                <a:solidFill>
                  <a:schemeClr val="tx1"/>
                </a:solidFill>
              </a:defRPr>
            </a:lvl1pPr>
          </a:lstStyle>
          <a:p>
            <a:pPr>
              <a:defRPr/>
            </a:pPr>
            <a:r>
              <a:rPr lang="en-US"/>
              <a:t>© 2022 Comcast.  All rights reserved.</a:t>
            </a:r>
            <a:endParaRPr lang="en-US" dirty="0"/>
          </a:p>
        </p:txBody>
      </p:sp>
      <p:sp>
        <p:nvSpPr>
          <p:cNvPr id="7" name="Slide Number Placeholder 6">
            <a:extLst>
              <a:ext uri="{FF2B5EF4-FFF2-40B4-BE49-F238E27FC236}">
                <a16:creationId xmlns:a16="http://schemas.microsoft.com/office/drawing/2014/main" id="{51B86CBB-8A54-4818-8CC6-A9598ED3AFFA}"/>
              </a:ext>
            </a:extLst>
          </p:cNvPr>
          <p:cNvSpPr>
            <a:spLocks noGrp="1"/>
          </p:cNvSpPr>
          <p:nvPr>
            <p:ph type="sldNum" sz="quarter" idx="12"/>
          </p:nvPr>
        </p:nvSpPr>
        <p:spPr/>
        <p:txBody>
          <a:bodyPr/>
          <a:lstStyle>
            <a:lvl1pPr>
              <a:defRPr>
                <a:solidFill>
                  <a:schemeClr val="bg1"/>
                </a:solidFill>
              </a:defRPr>
            </a:lvl1pPr>
          </a:lstStyle>
          <a:p>
            <a:pPr>
              <a:defRPr/>
            </a:pPr>
            <a:fld id="{EE27841C-7B5C-3442-9B0A-373C471D7760}" type="slidenum">
              <a:rPr lang="en-US" smtClean="0"/>
              <a:pPr>
                <a:defRPr/>
              </a:pPr>
              <a:t>‹#›</a:t>
            </a:fld>
            <a:endParaRPr lang="en-US" dirty="0"/>
          </a:p>
        </p:txBody>
      </p:sp>
      <p:sp>
        <p:nvSpPr>
          <p:cNvPr id="4" name="Content Placeholder 3">
            <a:extLst>
              <a:ext uri="{FF2B5EF4-FFF2-40B4-BE49-F238E27FC236}">
                <a16:creationId xmlns:a16="http://schemas.microsoft.com/office/drawing/2014/main" id="{1582D711-78AA-40DF-9ED8-0A7123D2D990}"/>
              </a:ext>
            </a:extLst>
          </p:cNvPr>
          <p:cNvSpPr>
            <a:spLocks noGrp="1"/>
          </p:cNvSpPr>
          <p:nvPr>
            <p:ph sz="half" idx="2" hasCustomPrompt="1"/>
          </p:nvPr>
        </p:nvSpPr>
        <p:spPr>
          <a:xfrm>
            <a:off x="8572500" y="355922"/>
            <a:ext cx="3162301" cy="3749040"/>
          </a:xfrm>
          <a:prstGeom prst="rect">
            <a:avLst/>
          </a:prstGeom>
        </p:spPr>
        <p:txBody>
          <a:bodyPr/>
          <a:lstStyle>
            <a:lvl1pPr>
              <a:defRPr sz="20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First level, 20pt Regular</a:t>
            </a:r>
          </a:p>
          <a:p>
            <a:pPr lvl="1"/>
            <a:r>
              <a:rPr lang="en-US" dirty="0"/>
              <a:t>Second level, 18pt</a:t>
            </a:r>
          </a:p>
          <a:p>
            <a:pPr lvl="2"/>
            <a:r>
              <a:rPr lang="en-US" dirty="0"/>
              <a:t>Third level, 16pt</a:t>
            </a:r>
          </a:p>
          <a:p>
            <a:pPr lvl="3"/>
            <a:r>
              <a:rPr lang="en-US" dirty="0"/>
              <a:t>Fourth level, 14pt</a:t>
            </a:r>
          </a:p>
        </p:txBody>
      </p:sp>
      <p:sp>
        <p:nvSpPr>
          <p:cNvPr id="10" name="Title 1">
            <a:extLst>
              <a:ext uri="{FF2B5EF4-FFF2-40B4-BE49-F238E27FC236}">
                <a16:creationId xmlns:a16="http://schemas.microsoft.com/office/drawing/2014/main" id="{E6DA9C0D-8DD3-C56E-A557-661171EB77FA}"/>
              </a:ext>
            </a:extLst>
          </p:cNvPr>
          <p:cNvSpPr>
            <a:spLocks noGrp="1"/>
          </p:cNvSpPr>
          <p:nvPr>
            <p:ph type="title"/>
          </p:nvPr>
        </p:nvSpPr>
        <p:spPr>
          <a:xfrm>
            <a:off x="463549" y="514928"/>
            <a:ext cx="7351715" cy="365760"/>
          </a:xfrm>
          <a:prstGeom prst="rect">
            <a:avLst/>
          </a:prstGeom>
        </p:spPr>
        <p:txBody>
          <a:bodyPr lIns="0" tIns="0" rIns="0" bIns="0" anchor="t"/>
          <a:lstStyle>
            <a:lvl1pPr marL="0" marR="0" indent="0" algn="l" defTabSz="412750" rtl="0" latinLnBrk="0">
              <a:lnSpc>
                <a:spcPct val="100000"/>
              </a:lnSpc>
              <a:spcBef>
                <a:spcPts val="0"/>
              </a:spcBef>
              <a:spcAft>
                <a:spcPts val="0"/>
              </a:spcAft>
              <a:buClrTx/>
              <a:buSzTx/>
              <a:buFontTx/>
              <a:buNone/>
              <a:tabLst/>
              <a:defRPr lang="en-US" sz="2200" b="1" i="0" u="none" strike="noStrike" cap="none" spc="0" baseline="0" dirty="0" smtClean="0">
                <a:solidFill>
                  <a:srgbClr val="000000"/>
                </a:solidFill>
                <a:uFillTx/>
                <a:latin typeface="Montserrat" panose="00000500000000000000" pitchFamily="2" charset="0"/>
                <a:ea typeface="Montserrat" panose="00000500000000000000" pitchFamily="2" charset="0"/>
                <a:cs typeface="Montserrat" panose="00000500000000000000" pitchFamily="2" charset="0"/>
                <a:sym typeface="Montserrat" panose="00000500000000000000" pitchFamily="2" charset="0"/>
              </a:defRPr>
            </a:lvl1pPr>
          </a:lstStyle>
          <a:p>
            <a:r>
              <a:rPr lang="en-US"/>
              <a:t>Click to edit Master title style</a:t>
            </a:r>
            <a:endParaRPr lang="en-US" dirty="0"/>
          </a:p>
        </p:txBody>
      </p:sp>
      <p:sp>
        <p:nvSpPr>
          <p:cNvPr id="11" name="Text Placeholder 2">
            <a:extLst>
              <a:ext uri="{FF2B5EF4-FFF2-40B4-BE49-F238E27FC236}">
                <a16:creationId xmlns:a16="http://schemas.microsoft.com/office/drawing/2014/main" id="{DE8850A6-FDBC-D2BC-23A8-2CCE00C092D5}"/>
              </a:ext>
            </a:extLst>
          </p:cNvPr>
          <p:cNvSpPr>
            <a:spLocks noGrp="1"/>
          </p:cNvSpPr>
          <p:nvPr>
            <p:ph type="body" sz="quarter" idx="25" hasCustomPrompt="1"/>
          </p:nvPr>
        </p:nvSpPr>
        <p:spPr>
          <a:xfrm>
            <a:off x="463549" y="255612"/>
            <a:ext cx="7351715" cy="201168"/>
          </a:xfrm>
          <a:prstGeom prst="rect">
            <a:avLst/>
          </a:prstGeom>
        </p:spPr>
        <p:txBody>
          <a:bodyPr lIns="0" tIns="0" rIns="0" bIns="0" anchor="ctr"/>
          <a:lstStyle>
            <a:lvl1pPr marL="0" indent="0" algn="l">
              <a:buNone/>
              <a:defRPr lang="en-US" sz="1000" b="0" i="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stStyle>
          <a:p>
            <a:pPr lvl="0" algn="l"/>
            <a:r>
              <a:rPr lang="en-US"/>
              <a:t>OPTIONAL BREADCRUMB HERE</a:t>
            </a:r>
          </a:p>
        </p:txBody>
      </p:sp>
      <p:sp>
        <p:nvSpPr>
          <p:cNvPr id="2" name="Text Placeholder 5">
            <a:extLst>
              <a:ext uri="{FF2B5EF4-FFF2-40B4-BE49-F238E27FC236}">
                <a16:creationId xmlns:a16="http://schemas.microsoft.com/office/drawing/2014/main" id="{7412623B-2075-314B-4D3C-0DDE2410EC5B}"/>
              </a:ext>
            </a:extLst>
          </p:cNvPr>
          <p:cNvSpPr>
            <a:spLocks noGrp="1"/>
          </p:cNvSpPr>
          <p:nvPr>
            <p:ph type="body" sz="quarter" idx="26"/>
          </p:nvPr>
        </p:nvSpPr>
        <p:spPr>
          <a:xfrm>
            <a:off x="463550" y="1097280"/>
            <a:ext cx="7351714" cy="4872162"/>
          </a:xfrm>
          <a:prstGeom prst="rect">
            <a:avLst/>
          </a:prstGeom>
        </p:spPr>
        <p:txBody>
          <a:bodyPr lIns="0" tIns="0" rIns="0" bIns="0"/>
          <a:lstStyle>
            <a:lvl1pPr marL="0" indent="0" algn="l">
              <a:buNone/>
              <a:defRPr sz="1800" b="0" i="0">
                <a:latin typeface="Montserrat Light" pitchFamily="2" charset="77"/>
                <a:cs typeface="Montserrat Light" pitchFamily="2" charset="77"/>
              </a:defRPr>
            </a:lvl1pPr>
            <a:lvl2pPr marL="174625" indent="-174625" algn="l">
              <a:spcBef>
                <a:spcPts val="1200"/>
              </a:spcBef>
              <a:buFont typeface="Arial" panose="020B0604020202020204" pitchFamily="34" charset="0"/>
              <a:buChar char="•"/>
              <a:tabLst/>
              <a:defRPr sz="1800" b="0" i="0">
                <a:latin typeface="Montserrat Light" pitchFamily="2" charset="77"/>
                <a:cs typeface="Montserrat Light" pitchFamily="2" charset="77"/>
              </a:defRPr>
            </a:lvl2pPr>
            <a:lvl3pPr marL="560070" indent="-285750" algn="l">
              <a:spcBef>
                <a:spcPts val="1200"/>
              </a:spcBef>
              <a:buFont typeface="Montserrat" panose="00000500000000000000" pitchFamily="2" charset="0"/>
              <a:buChar char="–"/>
              <a:defRPr sz="1800" b="0" i="0">
                <a:latin typeface="Montserrat Light" pitchFamily="2" charset="77"/>
                <a:cs typeface="Montserrat Light" pitchFamily="2" charset="77"/>
              </a:defRPr>
            </a:lvl3pPr>
            <a:lvl4pPr marL="834390" indent="-285750" algn="l">
              <a:spcBef>
                <a:spcPts val="1200"/>
              </a:spcBef>
              <a:buFont typeface="Courier New" panose="02070309020205020404" pitchFamily="49" charset="0"/>
              <a:buChar char="o"/>
              <a:defRPr sz="1600" b="0" i="0">
                <a:latin typeface="Montserrat Light" pitchFamily="2" charset="77"/>
                <a:cs typeface="Montserrat Light" pitchFamily="2" charset="77"/>
              </a:defRPr>
            </a:lvl4pPr>
            <a:lvl5pPr marL="1108710" indent="-285750" algn="l">
              <a:defRPr lang="en-US" sz="1400" b="0" i="0" u="none" strike="noStrike" cap="none" spc="0" baseline="0" dirty="0">
                <a:solidFill>
                  <a:srgbClr val="000000"/>
                </a:solidFill>
                <a:uFillTx/>
                <a:latin typeface="Montserrat Light" pitchFamily="2" charset="77"/>
                <a:ea typeface="Montserrat" panose="00000500000000000000" pitchFamily="2" charset="0"/>
                <a:cs typeface="Montserrat Light" pitchFamily="2" charset="77"/>
                <a:sym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8C73D13F-0186-1FA7-FFE1-4D70C3FB62D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954876317"/>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A5F56953-5C19-44BA-876B-533BF103DC43}"/>
              </a:ext>
            </a:extLst>
          </p:cNvPr>
          <p:cNvSpPr>
            <a:spLocks noGrp="1"/>
          </p:cNvSpPr>
          <p:nvPr>
            <p:ph type="sldNum" sz="quarter" idx="10"/>
          </p:nvPr>
        </p:nvSpPr>
        <p:spPr/>
        <p:txBody>
          <a:bodyPr/>
          <a:lstStyle>
            <a:lvl1pPr>
              <a:defRPr/>
            </a:lvl1pPr>
          </a:lstStyle>
          <a:p>
            <a:pPr>
              <a:defRPr/>
            </a:pPr>
            <a:fld id="{5ABAD0D3-4EF7-264B-AA3E-F4FC417A4DCC}" type="slidenum">
              <a:rPr lang="en-US" smtClean="0"/>
              <a:pPr>
                <a:defRPr/>
              </a:pPr>
              <a:t>‹#›</a:t>
            </a:fld>
            <a:endParaRPr lang="en-US"/>
          </a:p>
        </p:txBody>
      </p:sp>
      <p:sp>
        <p:nvSpPr>
          <p:cNvPr id="3" name="Footer Placeholder 4">
            <a:extLst>
              <a:ext uri="{FF2B5EF4-FFF2-40B4-BE49-F238E27FC236}">
                <a16:creationId xmlns:a16="http://schemas.microsoft.com/office/drawing/2014/main" id="{7379CE49-110A-409A-B246-2599257D74BF}"/>
              </a:ext>
            </a:extLst>
          </p:cNvPr>
          <p:cNvSpPr>
            <a:spLocks noGrp="1"/>
          </p:cNvSpPr>
          <p:nvPr>
            <p:ph type="ftr" sz="quarter" idx="11"/>
          </p:nvPr>
        </p:nvSpPr>
        <p:spPr/>
        <p:txBody>
          <a:bodyPr/>
          <a:lstStyle>
            <a:lvl1pPr algn="l" eaLnBrk="1" fontAlgn="auto" hangingPunct="1">
              <a:spcBef>
                <a:spcPts val="0"/>
              </a:spcBef>
              <a:spcAft>
                <a:spcPts val="0"/>
              </a:spcAft>
              <a:defRPr sz="800">
                <a:solidFill>
                  <a:schemeClr val="tx1"/>
                </a:solidFill>
                <a:latin typeface="+mn-lt"/>
              </a:defRPr>
            </a:lvl1pPr>
          </a:lstStyle>
          <a:p>
            <a:pPr>
              <a:defRPr/>
            </a:pPr>
            <a:r>
              <a:rPr lang="en-US"/>
              <a:t>© 2022 Comcast.  All rights reserved.</a:t>
            </a:r>
            <a:endParaRPr lang="en-US" dirty="0"/>
          </a:p>
        </p:txBody>
      </p:sp>
    </p:spTree>
    <p:extLst>
      <p:ext uri="{BB962C8B-B14F-4D97-AF65-F5344CB8AC3E}">
        <p14:creationId xmlns:p14="http://schemas.microsoft.com/office/powerpoint/2010/main" val="972688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slideLayout" Target="../slideLayouts/slideLayout82.xml"/><Relationship Id="rId8" Type="http://schemas.openxmlformats.org/officeDocument/2006/relationships/slideLayout" Target="../slideLayouts/slideLayout47.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theme" Target="../theme/theme3.xml"/><Relationship Id="rId20" Type="http://schemas.openxmlformats.org/officeDocument/2006/relationships/slideLayout" Target="../slideLayouts/slideLayout59.xml"/><Relationship Id="rId41"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heme" Target="../theme/theme4.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image" Target="../media/image13.sv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3 Comcast. All rights reserved.</a:t>
            </a:r>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0328BF2B-1211-4EAA-8AE9-62488A2F8B31}" type="slidenum">
              <a:rPr lang="en-US"/>
              <a:pPr>
                <a:defRPr/>
              </a:pPr>
              <a:t>‹#›</a:t>
            </a:fld>
            <a:endParaRPr lang="en-US"/>
          </a:p>
        </p:txBody>
      </p:sp>
      <p:pic>
        <p:nvPicPr>
          <p:cNvPr id="3" name="Picture 2">
            <a:extLst>
              <a:ext uri="{FF2B5EF4-FFF2-40B4-BE49-F238E27FC236}">
                <a16:creationId xmlns:a16="http://schemas.microsoft.com/office/drawing/2014/main" id="{F1705795-DF01-EA9F-1B25-E2F6D4C54B6B}"/>
              </a:ext>
            </a:extLst>
          </p:cNvPr>
          <p:cNvPicPr>
            <a:picLocks noChangeAspect="1"/>
          </p:cNvPicPr>
          <p:nvPr userDrawn="1"/>
        </p:nvPicPr>
        <p:blipFill>
          <a:blip r:embed="rId12"/>
          <a:stretch>
            <a:fillRect/>
          </a:stretch>
        </p:blipFill>
        <p:spPr>
          <a:xfrm>
            <a:off x="9150137" y="6365400"/>
            <a:ext cx="2086550" cy="324124"/>
          </a:xfrm>
          <a:prstGeom prst="rect">
            <a:avLst/>
          </a:prstGeom>
        </p:spPr>
      </p:pic>
    </p:spTree>
    <p:extLst>
      <p:ext uri="{BB962C8B-B14F-4D97-AF65-F5344CB8AC3E}">
        <p14:creationId xmlns:p14="http://schemas.microsoft.com/office/powerpoint/2010/main" val="2757442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1955AE37-35A6-4F78-8477-89D4BF5CA39A}"/>
              </a:ext>
            </a:extLst>
          </p:cNvPr>
          <p:cNvSpPr>
            <a:spLocks noGrp="1" noChangeArrowheads="1"/>
          </p:cNvSpPr>
          <p:nvPr>
            <p:ph type="title"/>
          </p:nvPr>
        </p:nvSpPr>
        <p:spPr bwMode="auto">
          <a:xfrm>
            <a:off x="430213" y="685800"/>
            <a:ext cx="1130458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0C76CF7A-4BF1-4BF8-BBF8-58ACC50BA68E}"/>
              </a:ext>
            </a:extLst>
          </p:cNvPr>
          <p:cNvSpPr>
            <a:spLocks noGrp="1" noChangeArrowheads="1"/>
          </p:cNvSpPr>
          <p:nvPr>
            <p:ph type="body" idx="1"/>
          </p:nvPr>
        </p:nvSpPr>
        <p:spPr bwMode="auto">
          <a:xfrm>
            <a:off x="444500" y="1646238"/>
            <a:ext cx="11276013" cy="466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First level, 20pt Regular</a:t>
            </a:r>
          </a:p>
          <a:p>
            <a:pPr lvl="1"/>
            <a:r>
              <a:rPr lang="en-US" altLang="en-US"/>
              <a:t>Second level, 18pt</a:t>
            </a:r>
          </a:p>
          <a:p>
            <a:pPr lvl="2"/>
            <a:r>
              <a:rPr lang="en-US" altLang="en-US"/>
              <a:t>Third level, 16pt</a:t>
            </a:r>
          </a:p>
          <a:p>
            <a:pPr lvl="3"/>
            <a:r>
              <a:rPr lang="en-US" altLang="en-US"/>
              <a:t>Fourth level, 14pt</a:t>
            </a:r>
          </a:p>
          <a:p>
            <a:pPr lvl="4"/>
            <a:r>
              <a:rPr lang="en-US" altLang="en-US"/>
              <a:t>Fifth level, 12pt Bold, use for captions</a:t>
            </a:r>
          </a:p>
        </p:txBody>
      </p:sp>
      <p:sp>
        <p:nvSpPr>
          <p:cNvPr id="4" name="Date Placeholder 3">
            <a:extLst>
              <a:ext uri="{FF2B5EF4-FFF2-40B4-BE49-F238E27FC236}">
                <a16:creationId xmlns:a16="http://schemas.microsoft.com/office/drawing/2014/main" id="{F6BCF6F8-4AB2-4CFC-8891-01D8B72222DB}"/>
              </a:ext>
            </a:extLst>
          </p:cNvPr>
          <p:cNvSpPr>
            <a:spLocks noGrp="1"/>
          </p:cNvSpPr>
          <p:nvPr>
            <p:ph type="dt" sz="half" idx="2"/>
          </p:nvPr>
        </p:nvSpPr>
        <p:spPr>
          <a:xfrm>
            <a:off x="5405438" y="6407150"/>
            <a:ext cx="2579687" cy="201613"/>
          </a:xfrm>
          <a:prstGeom prst="rect">
            <a:avLst/>
          </a:prstGeom>
        </p:spPr>
        <p:txBody>
          <a:bodyPr vert="horz" lIns="0" tIns="0" rIns="0" bIns="0" rtlCol="0" anchor="ctr">
            <a:noAutofit/>
          </a:bodyPr>
          <a:lstStyle>
            <a:lvl1pPr algn="l" eaLnBrk="1" fontAlgn="auto" hangingPunct="1">
              <a:spcBef>
                <a:spcPts val="0"/>
              </a:spcBef>
              <a:spcAft>
                <a:spcPts val="0"/>
              </a:spcAft>
              <a:defRPr sz="1200" dirty="0">
                <a:solidFill>
                  <a:schemeClr val="tx1"/>
                </a:solidFill>
                <a:latin typeface="+mn-lt"/>
              </a:defRPr>
            </a:lvl1pPr>
          </a:lstStyle>
          <a:p>
            <a:fld id="{35BE575E-E846-4D1B-BE32-23BB5BB1A17F}" type="datetimeFigureOut">
              <a:rPr lang="en-US" smtClean="0"/>
              <a:t>1/14/2025</a:t>
            </a:fld>
            <a:endParaRPr lang="en-US"/>
          </a:p>
        </p:txBody>
      </p:sp>
      <p:sp>
        <p:nvSpPr>
          <p:cNvPr id="5" name="Footer Placeholder 4">
            <a:extLst>
              <a:ext uri="{FF2B5EF4-FFF2-40B4-BE49-F238E27FC236}">
                <a16:creationId xmlns:a16="http://schemas.microsoft.com/office/drawing/2014/main" id="{C82EB4F4-E758-4093-B47D-9EE463FCAC87}"/>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endParaRPr lang="en-US"/>
          </a:p>
        </p:txBody>
      </p:sp>
      <p:sp>
        <p:nvSpPr>
          <p:cNvPr id="6" name="Slide Number Placeholder 5">
            <a:extLst>
              <a:ext uri="{FF2B5EF4-FFF2-40B4-BE49-F238E27FC236}">
                <a16:creationId xmlns:a16="http://schemas.microsoft.com/office/drawing/2014/main" id="{42F449A1-FA8A-4C6F-B3B9-97B67FD87C0E}"/>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smtClean="0">
                <a:solidFill>
                  <a:schemeClr val="tx2"/>
                </a:solidFill>
                <a:latin typeface="+mn-lt"/>
              </a:defRPr>
            </a:lvl1pPr>
          </a:lstStyle>
          <a:p>
            <a:fld id="{6E168AC4-095D-4AEB-92FD-DD4443EEF9E4}" type="slidenum">
              <a:rPr lang="en-US" smtClean="0"/>
              <a:t>‹#›</a:t>
            </a:fld>
            <a:endParaRPr lang="en-US"/>
          </a:p>
        </p:txBody>
      </p:sp>
      <p:grpSp>
        <p:nvGrpSpPr>
          <p:cNvPr id="1031" name="Group 12">
            <a:extLst>
              <a:ext uri="{FF2B5EF4-FFF2-40B4-BE49-F238E27FC236}">
                <a16:creationId xmlns:a16="http://schemas.microsoft.com/office/drawing/2014/main" id="{54DD6BA1-AD02-46AF-8618-2D793074E7F3}"/>
              </a:ext>
            </a:extLst>
          </p:cNvPr>
          <p:cNvGrpSpPr>
            <a:grpSpLocks noChangeAspect="1"/>
          </p:cNvGrpSpPr>
          <p:nvPr/>
        </p:nvGrpSpPr>
        <p:grpSpPr bwMode="auto">
          <a:xfrm>
            <a:off x="8680450" y="6437313"/>
            <a:ext cx="2522538" cy="184150"/>
            <a:chOff x="288" y="4035"/>
            <a:chExt cx="1589" cy="116"/>
          </a:xfrm>
        </p:grpSpPr>
        <p:sp>
          <p:nvSpPr>
            <p:cNvPr id="1032" name="Freeform 5">
              <a:extLst>
                <a:ext uri="{FF2B5EF4-FFF2-40B4-BE49-F238E27FC236}">
                  <a16:creationId xmlns:a16="http://schemas.microsoft.com/office/drawing/2014/main" id="{8B565EDE-4F5C-4419-A788-BA9EEF336E8E}"/>
                </a:ext>
              </a:extLst>
            </p:cNvPr>
            <p:cNvSpPr>
              <a:spLocks noEditPoints="1"/>
            </p:cNvSpPr>
            <p:nvPr/>
          </p:nvSpPr>
          <p:spPr bwMode="auto">
            <a:xfrm>
              <a:off x="288" y="4035"/>
              <a:ext cx="769" cy="116"/>
            </a:xfrm>
            <a:custGeom>
              <a:avLst/>
              <a:gdLst>
                <a:gd name="T0" fmla="*/ 769 w 3874"/>
                <a:gd name="T1" fmla="*/ 6 h 573"/>
                <a:gd name="T2" fmla="*/ 700 w 3874"/>
                <a:gd name="T3" fmla="*/ 1 h 573"/>
                <a:gd name="T4" fmla="*/ 700 w 3874"/>
                <a:gd name="T5" fmla="*/ 12 h 573"/>
                <a:gd name="T6" fmla="*/ 727 w 3874"/>
                <a:gd name="T7" fmla="*/ 115 h 573"/>
                <a:gd name="T8" fmla="*/ 737 w 3874"/>
                <a:gd name="T9" fmla="*/ 12 h 573"/>
                <a:gd name="T10" fmla="*/ 769 w 3874"/>
                <a:gd name="T11" fmla="*/ 6 h 573"/>
                <a:gd name="T12" fmla="*/ 548 w 3874"/>
                <a:gd name="T13" fmla="*/ 0 h 573"/>
                <a:gd name="T14" fmla="*/ 501 w 3874"/>
                <a:gd name="T15" fmla="*/ 109 h 573"/>
                <a:gd name="T16" fmla="*/ 506 w 3874"/>
                <a:gd name="T17" fmla="*/ 116 h 573"/>
                <a:gd name="T18" fmla="*/ 526 w 3874"/>
                <a:gd name="T19" fmla="*/ 73 h 573"/>
                <a:gd name="T20" fmla="*/ 586 w 3874"/>
                <a:gd name="T21" fmla="*/ 115 h 573"/>
                <a:gd name="T22" fmla="*/ 553 w 3874"/>
                <a:gd name="T23" fmla="*/ 3 h 573"/>
                <a:gd name="T24" fmla="*/ 531 w 3874"/>
                <a:gd name="T25" fmla="*/ 61 h 573"/>
                <a:gd name="T26" fmla="*/ 548 w 3874"/>
                <a:gd name="T27" fmla="*/ 19 h 573"/>
                <a:gd name="T28" fmla="*/ 531 w 3874"/>
                <a:gd name="T29" fmla="*/ 61 h 573"/>
                <a:gd name="T30" fmla="*/ 346 w 3874"/>
                <a:gd name="T31" fmla="*/ 0 h 573"/>
                <a:gd name="T32" fmla="*/ 307 w 3874"/>
                <a:gd name="T33" fmla="*/ 87 h 573"/>
                <a:gd name="T34" fmla="*/ 269 w 3874"/>
                <a:gd name="T35" fmla="*/ 0 h 573"/>
                <a:gd name="T36" fmla="*/ 246 w 3874"/>
                <a:gd name="T37" fmla="*/ 110 h 573"/>
                <a:gd name="T38" fmla="*/ 250 w 3874"/>
                <a:gd name="T39" fmla="*/ 116 h 573"/>
                <a:gd name="T40" fmla="*/ 271 w 3874"/>
                <a:gd name="T41" fmla="*/ 23 h 573"/>
                <a:gd name="T42" fmla="*/ 307 w 3874"/>
                <a:gd name="T43" fmla="*/ 106 h 573"/>
                <a:gd name="T44" fmla="*/ 344 w 3874"/>
                <a:gd name="T45" fmla="*/ 23 h 573"/>
                <a:gd name="T46" fmla="*/ 371 w 3874"/>
                <a:gd name="T47" fmla="*/ 115 h 573"/>
                <a:gd name="T48" fmla="*/ 346 w 3874"/>
                <a:gd name="T49" fmla="*/ 0 h 573"/>
                <a:gd name="T50" fmla="*/ 442 w 3874"/>
                <a:gd name="T51" fmla="*/ 12 h 573"/>
                <a:gd name="T52" fmla="*/ 482 w 3874"/>
                <a:gd name="T53" fmla="*/ 25 h 573"/>
                <a:gd name="T54" fmla="*/ 482 w 3874"/>
                <a:gd name="T55" fmla="*/ 17 h 573"/>
                <a:gd name="T56" fmla="*/ 442 w 3874"/>
                <a:gd name="T57" fmla="*/ 0 h 573"/>
                <a:gd name="T58" fmla="*/ 442 w 3874"/>
                <a:gd name="T59" fmla="*/ 116 h 573"/>
                <a:gd name="T60" fmla="*/ 476 w 3874"/>
                <a:gd name="T61" fmla="*/ 89 h 573"/>
                <a:gd name="T62" fmla="*/ 396 w 3874"/>
                <a:gd name="T63" fmla="*/ 58 h 573"/>
                <a:gd name="T64" fmla="*/ 57 w 3874"/>
                <a:gd name="T65" fmla="*/ 12 h 573"/>
                <a:gd name="T66" fmla="*/ 89 w 3874"/>
                <a:gd name="T67" fmla="*/ 25 h 573"/>
                <a:gd name="T68" fmla="*/ 99 w 3874"/>
                <a:gd name="T69" fmla="*/ 21 h 573"/>
                <a:gd name="T70" fmla="*/ 96 w 3874"/>
                <a:gd name="T71" fmla="*/ 16 h 573"/>
                <a:gd name="T72" fmla="*/ 0 w 3874"/>
                <a:gd name="T73" fmla="*/ 58 h 573"/>
                <a:gd name="T74" fmla="*/ 99 w 3874"/>
                <a:gd name="T75" fmla="*/ 97 h 573"/>
                <a:gd name="T76" fmla="*/ 57 w 3874"/>
                <a:gd name="T77" fmla="*/ 104 h 573"/>
                <a:gd name="T78" fmla="*/ 57 w 3874"/>
                <a:gd name="T79" fmla="*/ 12 h 573"/>
                <a:gd name="T80" fmla="*/ 663 w 3874"/>
                <a:gd name="T81" fmla="*/ 59 h 573"/>
                <a:gd name="T82" fmla="*/ 626 w 3874"/>
                <a:gd name="T83" fmla="*/ 29 h 573"/>
                <a:gd name="T84" fmla="*/ 667 w 3874"/>
                <a:gd name="T85" fmla="*/ 17 h 573"/>
                <a:gd name="T86" fmla="*/ 676 w 3874"/>
                <a:gd name="T87" fmla="*/ 12 h 573"/>
                <a:gd name="T88" fmla="*/ 648 w 3874"/>
                <a:gd name="T89" fmla="*/ 0 h 573"/>
                <a:gd name="T90" fmla="*/ 634 w 3874"/>
                <a:gd name="T91" fmla="*/ 56 h 573"/>
                <a:gd name="T92" fmla="*/ 670 w 3874"/>
                <a:gd name="T93" fmla="*/ 86 h 573"/>
                <a:gd name="T94" fmla="*/ 621 w 3874"/>
                <a:gd name="T95" fmla="*/ 92 h 573"/>
                <a:gd name="T96" fmla="*/ 612 w 3874"/>
                <a:gd name="T97" fmla="*/ 99 h 573"/>
                <a:gd name="T98" fmla="*/ 648 w 3874"/>
                <a:gd name="T99" fmla="*/ 116 h 573"/>
                <a:gd name="T100" fmla="*/ 663 w 3874"/>
                <a:gd name="T101" fmla="*/ 59 h 573"/>
                <a:gd name="T102" fmla="*/ 173 w 3874"/>
                <a:gd name="T103" fmla="*/ 0 h 573"/>
                <a:gd name="T104" fmla="*/ 173 w 3874"/>
                <a:gd name="T105" fmla="*/ 116 h 573"/>
                <a:gd name="T106" fmla="*/ 173 w 3874"/>
                <a:gd name="T107" fmla="*/ 0 h 573"/>
                <a:gd name="T108" fmla="*/ 173 w 3874"/>
                <a:gd name="T109" fmla="*/ 104 h 573"/>
                <a:gd name="T110" fmla="*/ 173 w 3874"/>
                <a:gd name="T111" fmla="*/ 11 h 573"/>
                <a:gd name="T112" fmla="*/ 173 w 3874"/>
                <a:gd name="T113" fmla="*/ 104 h 5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sp>
          <p:nvSpPr>
            <p:cNvPr id="1033" name="Freeform 6">
              <a:extLst>
                <a:ext uri="{FF2B5EF4-FFF2-40B4-BE49-F238E27FC236}">
                  <a16:creationId xmlns:a16="http://schemas.microsoft.com/office/drawing/2014/main" id="{6F2767F9-B012-48D4-993F-C894DCC32D1A}"/>
                </a:ext>
              </a:extLst>
            </p:cNvPr>
            <p:cNvSpPr>
              <a:spLocks noEditPoints="1"/>
            </p:cNvSpPr>
            <p:nvPr/>
          </p:nvSpPr>
          <p:spPr bwMode="auto">
            <a:xfrm>
              <a:off x="1114" y="4035"/>
              <a:ext cx="763" cy="116"/>
            </a:xfrm>
            <a:custGeom>
              <a:avLst/>
              <a:gdLst>
                <a:gd name="T0" fmla="*/ 724 w 3842"/>
                <a:gd name="T1" fmla="*/ 116 h 576"/>
                <a:gd name="T2" fmla="*/ 722 w 3842"/>
                <a:gd name="T3" fmla="*/ 44 h 576"/>
                <a:gd name="T4" fmla="*/ 743 w 3842"/>
                <a:gd name="T5" fmla="*/ 21 h 576"/>
                <a:gd name="T6" fmla="*/ 752 w 3842"/>
                <a:gd name="T7" fmla="*/ 6 h 576"/>
                <a:gd name="T8" fmla="*/ 716 w 3842"/>
                <a:gd name="T9" fmla="*/ 62 h 576"/>
                <a:gd name="T10" fmla="*/ 726 w 3842"/>
                <a:gd name="T11" fmla="*/ 98 h 576"/>
                <a:gd name="T12" fmla="*/ 595 w 3842"/>
                <a:gd name="T13" fmla="*/ 99 h 576"/>
                <a:gd name="T14" fmla="*/ 670 w 3842"/>
                <a:gd name="T15" fmla="*/ 84 h 576"/>
                <a:gd name="T16" fmla="*/ 619 w 3842"/>
                <a:gd name="T17" fmla="*/ 30 h 576"/>
                <a:gd name="T18" fmla="*/ 658 w 3842"/>
                <a:gd name="T19" fmla="*/ 23 h 576"/>
                <a:gd name="T20" fmla="*/ 635 w 3842"/>
                <a:gd name="T21" fmla="*/ 0 h 576"/>
                <a:gd name="T22" fmla="*/ 639 w 3842"/>
                <a:gd name="T23" fmla="*/ 69 h 576"/>
                <a:gd name="T24" fmla="*/ 609 w 3842"/>
                <a:gd name="T25" fmla="*/ 86 h 576"/>
                <a:gd name="T26" fmla="*/ 222 w 3842"/>
                <a:gd name="T27" fmla="*/ 99 h 576"/>
                <a:gd name="T28" fmla="*/ 274 w 3842"/>
                <a:gd name="T29" fmla="*/ 53 h 576"/>
                <a:gd name="T30" fmla="*/ 262 w 3842"/>
                <a:gd name="T31" fmla="*/ 18 h 576"/>
                <a:gd name="T32" fmla="*/ 293 w 3842"/>
                <a:gd name="T33" fmla="*/ 15 h 576"/>
                <a:gd name="T34" fmla="*/ 226 w 3842"/>
                <a:gd name="T35" fmla="*/ 31 h 576"/>
                <a:gd name="T36" fmla="*/ 278 w 3842"/>
                <a:gd name="T37" fmla="*/ 84 h 576"/>
                <a:gd name="T38" fmla="*/ 222 w 3842"/>
                <a:gd name="T39" fmla="*/ 99 h 576"/>
                <a:gd name="T40" fmla="*/ 378 w 3842"/>
                <a:gd name="T41" fmla="*/ 9 h 576"/>
                <a:gd name="T42" fmla="*/ 396 w 3842"/>
                <a:gd name="T43" fmla="*/ 107 h 576"/>
                <a:gd name="T44" fmla="*/ 462 w 3842"/>
                <a:gd name="T45" fmla="*/ 116 h 576"/>
                <a:gd name="T46" fmla="*/ 453 w 3842"/>
                <a:gd name="T47" fmla="*/ 1 h 576"/>
                <a:gd name="T48" fmla="*/ 387 w 3842"/>
                <a:gd name="T49" fmla="*/ 0 h 576"/>
                <a:gd name="T50" fmla="*/ 85 w 3842"/>
                <a:gd name="T51" fmla="*/ 81 h 576"/>
                <a:gd name="T52" fmla="*/ 0 w 3842"/>
                <a:gd name="T53" fmla="*/ 9 h 576"/>
                <a:gd name="T54" fmla="*/ 79 w 3842"/>
                <a:gd name="T55" fmla="*/ 30 h 576"/>
                <a:gd name="T56" fmla="*/ 18 w 3842"/>
                <a:gd name="T57" fmla="*/ 46 h 576"/>
                <a:gd name="T58" fmla="*/ 45 w 3842"/>
                <a:gd name="T59" fmla="*/ 19 h 576"/>
                <a:gd name="T60" fmla="*/ 47 w 3842"/>
                <a:gd name="T61" fmla="*/ 97 h 576"/>
                <a:gd name="T62" fmla="*/ 47 w 3842"/>
                <a:gd name="T63" fmla="*/ 63 h 576"/>
                <a:gd name="T64" fmla="*/ 47 w 3842"/>
                <a:gd name="T65" fmla="*/ 97 h 576"/>
                <a:gd name="T66" fmla="*/ 577 w 3842"/>
                <a:gd name="T67" fmla="*/ 10 h 576"/>
                <a:gd name="T68" fmla="*/ 503 w 3842"/>
                <a:gd name="T69" fmla="*/ 10 h 576"/>
                <a:gd name="T70" fmla="*/ 577 w 3842"/>
                <a:gd name="T71" fmla="*/ 115 h 576"/>
                <a:gd name="T72" fmla="*/ 521 w 3842"/>
                <a:gd name="T73" fmla="*/ 64 h 576"/>
                <a:gd name="T74" fmla="*/ 563 w 3842"/>
                <a:gd name="T75" fmla="*/ 46 h 576"/>
                <a:gd name="T76" fmla="*/ 568 w 3842"/>
                <a:gd name="T77" fmla="*/ 19 h 576"/>
                <a:gd name="T78" fmla="*/ 126 w 3842"/>
                <a:gd name="T79" fmla="*/ 9 h 576"/>
                <a:gd name="T80" fmla="*/ 108 w 3842"/>
                <a:gd name="T81" fmla="*/ 69 h 576"/>
                <a:gd name="T82" fmla="*/ 201 w 3842"/>
                <a:gd name="T83" fmla="*/ 0 h 576"/>
                <a:gd name="T84" fmla="*/ 154 w 3842"/>
                <a:gd name="T85" fmla="*/ 98 h 576"/>
                <a:gd name="T86" fmla="*/ 333 w 3842"/>
                <a:gd name="T87" fmla="*/ 0 h 576"/>
                <a:gd name="T88" fmla="*/ 324 w 3842"/>
                <a:gd name="T89" fmla="*/ 115 h 5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endParaRPr lang="en-US"/>
            </a:p>
          </p:txBody>
        </p:sp>
      </p:grpSp>
    </p:spTree>
    <p:extLst>
      <p:ext uri="{BB962C8B-B14F-4D97-AF65-F5344CB8AC3E}">
        <p14:creationId xmlns:p14="http://schemas.microsoft.com/office/powerpoint/2010/main" val="301376004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Lst>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charset="0"/>
        </a:defRPr>
      </a:lvl2pPr>
      <a:lvl3pPr algn="l" rtl="0" eaLnBrk="1" fontAlgn="base" hangingPunct="1">
        <a:lnSpc>
          <a:spcPct val="95000"/>
        </a:lnSpc>
        <a:spcBef>
          <a:spcPct val="0"/>
        </a:spcBef>
        <a:spcAft>
          <a:spcPct val="0"/>
        </a:spcAft>
        <a:defRPr sz="3200">
          <a:solidFill>
            <a:schemeClr val="accent1"/>
          </a:solidFill>
          <a:latin typeface="Montserrat Light" charset="0"/>
        </a:defRPr>
      </a:lvl3pPr>
      <a:lvl4pPr algn="l" rtl="0" eaLnBrk="1" fontAlgn="base" hangingPunct="1">
        <a:lnSpc>
          <a:spcPct val="95000"/>
        </a:lnSpc>
        <a:spcBef>
          <a:spcPct val="0"/>
        </a:spcBef>
        <a:spcAft>
          <a:spcPct val="0"/>
        </a:spcAft>
        <a:defRPr sz="3200">
          <a:solidFill>
            <a:schemeClr val="accent1"/>
          </a:solidFill>
          <a:latin typeface="Montserrat Light" charset="0"/>
        </a:defRPr>
      </a:lvl4pPr>
      <a:lvl5pPr algn="l" rtl="0" eaLnBrk="1" fontAlgn="base" hangingPunct="1">
        <a:lnSpc>
          <a:spcPct val="95000"/>
        </a:lnSpc>
        <a:spcBef>
          <a:spcPct val="0"/>
        </a:spcBef>
        <a:spcAft>
          <a:spcPct val="0"/>
        </a:spcAft>
        <a:defRPr sz="3200">
          <a:solidFill>
            <a:schemeClr val="accent1"/>
          </a:solidFill>
          <a:latin typeface="Montserrat Light" charset="0"/>
        </a:defRPr>
      </a:lvl5pPr>
      <a:lvl6pPr marL="457200" algn="l" rtl="0" eaLnBrk="1" fontAlgn="base" hangingPunct="1">
        <a:lnSpc>
          <a:spcPct val="95000"/>
        </a:lnSpc>
        <a:spcBef>
          <a:spcPct val="0"/>
        </a:spcBef>
        <a:spcAft>
          <a:spcPct val="0"/>
        </a:spcAft>
        <a:defRPr sz="3200">
          <a:solidFill>
            <a:schemeClr val="accent1"/>
          </a:solidFill>
          <a:latin typeface="Montserrat Light" charset="0"/>
        </a:defRPr>
      </a:lvl6pPr>
      <a:lvl7pPr marL="914400" algn="l" rtl="0" eaLnBrk="1" fontAlgn="base" hangingPunct="1">
        <a:lnSpc>
          <a:spcPct val="95000"/>
        </a:lnSpc>
        <a:spcBef>
          <a:spcPct val="0"/>
        </a:spcBef>
        <a:spcAft>
          <a:spcPct val="0"/>
        </a:spcAft>
        <a:defRPr sz="3200">
          <a:solidFill>
            <a:schemeClr val="accent1"/>
          </a:solidFill>
          <a:latin typeface="Montserrat Light" charset="0"/>
        </a:defRPr>
      </a:lvl7pPr>
      <a:lvl8pPr marL="1371600" algn="l" rtl="0" eaLnBrk="1" fontAlgn="base" hangingPunct="1">
        <a:lnSpc>
          <a:spcPct val="95000"/>
        </a:lnSpc>
        <a:spcBef>
          <a:spcPct val="0"/>
        </a:spcBef>
        <a:spcAft>
          <a:spcPct val="0"/>
        </a:spcAft>
        <a:defRPr sz="3200">
          <a:solidFill>
            <a:schemeClr val="accent1"/>
          </a:solidFill>
          <a:latin typeface="Montserrat Light" charset="0"/>
        </a:defRPr>
      </a:lvl8pPr>
      <a:lvl9pPr marL="1828800" algn="l" rtl="0" eaLnBrk="1" fontAlgn="base" hangingPunct="1">
        <a:lnSpc>
          <a:spcPct val="95000"/>
        </a:lnSpc>
        <a:spcBef>
          <a:spcPct val="0"/>
        </a:spcBef>
        <a:spcAft>
          <a:spcPct val="0"/>
        </a:spcAft>
        <a:defRPr sz="3200">
          <a:solidFill>
            <a:schemeClr val="accent1"/>
          </a:solidFill>
          <a:latin typeface="Montserrat Light"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E0D44E-6AF3-48D6-A375-854F33C0050D}"/>
              </a:ext>
            </a:extLst>
          </p:cNvPr>
          <p:cNvSpPr>
            <a:spLocks noGrp="1"/>
          </p:cNvSpPr>
          <p:nvPr>
            <p:ph type="title"/>
          </p:nvPr>
        </p:nvSpPr>
        <p:spPr>
          <a:xfrm>
            <a:off x="429488" y="685800"/>
            <a:ext cx="11305312" cy="82296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8BE5C36-47C3-454B-8DE2-D117F9A51CDD}"/>
              </a:ext>
            </a:extLst>
          </p:cNvPr>
          <p:cNvSpPr>
            <a:spLocks noGrp="1"/>
          </p:cNvSpPr>
          <p:nvPr>
            <p:ph type="body" idx="1"/>
          </p:nvPr>
        </p:nvSpPr>
        <p:spPr>
          <a:xfrm>
            <a:off x="445208" y="1645920"/>
            <a:ext cx="11274552" cy="4663440"/>
          </a:xfrm>
          <a:prstGeom prst="rect">
            <a:avLst/>
          </a:prstGeom>
        </p:spPr>
        <p:txBody>
          <a:bodyPr vert="horz" lIns="0" tIns="0" rIns="0" bIns="0" rtlCol="0">
            <a:noAutofit/>
          </a:bodyPr>
          <a:lstStyle/>
          <a:p>
            <a:pPr lvl="0"/>
            <a:r>
              <a:rPr lang="en-US"/>
              <a:t>First level, 20pt Regular</a:t>
            </a:r>
          </a:p>
          <a:p>
            <a:pPr lvl="1"/>
            <a:r>
              <a:rPr lang="en-US"/>
              <a:t>Second level, 18pt</a:t>
            </a:r>
          </a:p>
          <a:p>
            <a:pPr lvl="2"/>
            <a:r>
              <a:rPr lang="en-US"/>
              <a:t>Third level, 16pt</a:t>
            </a:r>
          </a:p>
          <a:p>
            <a:pPr lvl="3"/>
            <a:r>
              <a:rPr lang="en-US"/>
              <a:t>Fourth level, 14pt</a:t>
            </a:r>
          </a:p>
          <a:p>
            <a:pPr marL="0" marR="0" lvl="4"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t>Fifth level, 12pt Bold, use for captions</a:t>
            </a:r>
          </a:p>
        </p:txBody>
      </p:sp>
      <p:sp>
        <p:nvSpPr>
          <p:cNvPr id="4" name="Date Placeholder 3">
            <a:extLst>
              <a:ext uri="{FF2B5EF4-FFF2-40B4-BE49-F238E27FC236}">
                <a16:creationId xmlns:a16="http://schemas.microsoft.com/office/drawing/2014/main" id="{A816EEBB-E46A-4F87-B643-EA8F3B204108}"/>
              </a:ext>
            </a:extLst>
          </p:cNvPr>
          <p:cNvSpPr>
            <a:spLocks noGrp="1"/>
          </p:cNvSpPr>
          <p:nvPr>
            <p:ph type="dt" sz="half" idx="2"/>
          </p:nvPr>
        </p:nvSpPr>
        <p:spPr>
          <a:xfrm>
            <a:off x="5404937" y="6407433"/>
            <a:ext cx="2579626" cy="201168"/>
          </a:xfrm>
          <a:prstGeom prst="rect">
            <a:avLst/>
          </a:prstGeom>
        </p:spPr>
        <p:txBody>
          <a:bodyPr vert="horz" lIns="0" tIns="0" rIns="0" bIns="0" rtlCol="0" anchor="ctr">
            <a:noAutofit/>
          </a:bodyP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B0B895C3-C7F0-4D18-84BC-16905F575C9C}"/>
              </a:ext>
            </a:extLst>
          </p:cNvPr>
          <p:cNvSpPr>
            <a:spLocks noGrp="1"/>
          </p:cNvSpPr>
          <p:nvPr>
            <p:ph type="ftr" sz="quarter" idx="3"/>
          </p:nvPr>
        </p:nvSpPr>
        <p:spPr>
          <a:xfrm>
            <a:off x="463296" y="6428058"/>
            <a:ext cx="4114800" cy="198318"/>
          </a:xfrm>
          <a:prstGeom prst="rect">
            <a:avLst/>
          </a:prstGeom>
        </p:spPr>
        <p:txBody>
          <a:bodyPr vert="horz" lIns="0" tIns="0" rIns="0" bIns="0" rtlCol="0" anchor="ctr">
            <a:noAutofit/>
          </a:bodyPr>
          <a:lstStyle>
            <a:lvl1pPr algn="l">
              <a:defRPr sz="800">
                <a:solidFill>
                  <a:schemeClr val="tx1"/>
                </a:solidFill>
              </a:defRPr>
            </a:lvl1pPr>
          </a:lstStyle>
          <a:p>
            <a:r>
              <a:rPr lang="en-US" dirty="0"/>
              <a:t>© 2024 Comcast. All rights reserved.</a:t>
            </a:r>
          </a:p>
        </p:txBody>
      </p:sp>
      <p:sp>
        <p:nvSpPr>
          <p:cNvPr id="6" name="Slide Number Placeholder 5">
            <a:extLst>
              <a:ext uri="{FF2B5EF4-FFF2-40B4-BE49-F238E27FC236}">
                <a16:creationId xmlns:a16="http://schemas.microsoft.com/office/drawing/2014/main" id="{DD83C4A7-CDC5-4B79-8D38-512EC76E65FA}"/>
              </a:ext>
            </a:extLst>
          </p:cNvPr>
          <p:cNvSpPr>
            <a:spLocks noGrp="1"/>
          </p:cNvSpPr>
          <p:nvPr>
            <p:ph type="sldNum" sz="quarter" idx="4"/>
          </p:nvPr>
        </p:nvSpPr>
        <p:spPr>
          <a:xfrm>
            <a:off x="11341608" y="6423938"/>
            <a:ext cx="393192" cy="201168"/>
          </a:xfrm>
          <a:prstGeom prst="rect">
            <a:avLst/>
          </a:prstGeom>
        </p:spPr>
        <p:txBody>
          <a:bodyPr vert="horz" lIns="0" tIns="0" rIns="0" bIns="0" rtlCol="0" anchor="ctr">
            <a:noAutofit/>
          </a:bodyPr>
          <a:lstStyle>
            <a:lvl1pPr algn="r">
              <a:defRPr sz="800">
                <a:solidFill>
                  <a:schemeClr val="tx2"/>
                </a:solidFill>
              </a:defRPr>
            </a:lvl1pPr>
          </a:lstStyle>
          <a:p>
            <a:fld id="{A07A7439-3E0E-4A6B-9524-3A8EBA819993}" type="slidenum">
              <a:rPr lang="en-US" smtClean="0"/>
              <a:pPr/>
              <a:t>‹#›</a:t>
            </a:fld>
            <a:endParaRPr lang="en-US"/>
          </a:p>
        </p:txBody>
      </p:sp>
      <p:grpSp>
        <p:nvGrpSpPr>
          <p:cNvPr id="13" name="Group 12">
            <a:extLst>
              <a:ext uri="{FF2B5EF4-FFF2-40B4-BE49-F238E27FC236}">
                <a16:creationId xmlns:a16="http://schemas.microsoft.com/office/drawing/2014/main" id="{FE8A61E1-64B2-4668-9A94-844057B55633}"/>
              </a:ext>
            </a:extLst>
          </p:cNvPr>
          <p:cNvGrpSpPr>
            <a:grpSpLocks noChangeAspect="1"/>
          </p:cNvGrpSpPr>
          <p:nvPr userDrawn="1"/>
        </p:nvGrpSpPr>
        <p:grpSpPr bwMode="auto">
          <a:xfrm>
            <a:off x="8679774" y="6436900"/>
            <a:ext cx="2522538" cy="184150"/>
            <a:chOff x="288" y="4035"/>
            <a:chExt cx="1589" cy="116"/>
          </a:xfrm>
        </p:grpSpPr>
        <p:sp>
          <p:nvSpPr>
            <p:cNvPr id="14" name="Freeform 5">
              <a:extLst>
                <a:ext uri="{FF2B5EF4-FFF2-40B4-BE49-F238E27FC236}">
                  <a16:creationId xmlns:a16="http://schemas.microsoft.com/office/drawing/2014/main" id="{774F1D41-4A4E-4CB0-9C75-5BF1F67D3897}"/>
                </a:ext>
              </a:extLst>
            </p:cNvPr>
            <p:cNvSpPr>
              <a:spLocks noEditPoints="1"/>
            </p:cNvSpPr>
            <p:nvPr userDrawn="1"/>
          </p:nvSpPr>
          <p:spPr bwMode="auto">
            <a:xfrm>
              <a:off x="288" y="4035"/>
              <a:ext cx="769" cy="116"/>
            </a:xfrm>
            <a:custGeom>
              <a:avLst/>
              <a:gdLst>
                <a:gd name="T0" fmla="*/ 3874 w 3874"/>
                <a:gd name="T1" fmla="*/ 31 h 573"/>
                <a:gd name="T2" fmla="*/ 3527 w 3874"/>
                <a:gd name="T3" fmla="*/ 3 h 573"/>
                <a:gd name="T4" fmla="*/ 3527 w 3874"/>
                <a:gd name="T5" fmla="*/ 59 h 573"/>
                <a:gd name="T6" fmla="*/ 3661 w 3874"/>
                <a:gd name="T7" fmla="*/ 569 h 573"/>
                <a:gd name="T8" fmla="*/ 3713 w 3874"/>
                <a:gd name="T9" fmla="*/ 59 h 573"/>
                <a:gd name="T10" fmla="*/ 3874 w 3874"/>
                <a:gd name="T11" fmla="*/ 31 h 573"/>
                <a:gd name="T12" fmla="*/ 2759 w 3874"/>
                <a:gd name="T13" fmla="*/ 0 h 573"/>
                <a:gd name="T14" fmla="*/ 2523 w 3874"/>
                <a:gd name="T15" fmla="*/ 538 h 573"/>
                <a:gd name="T16" fmla="*/ 2547 w 3874"/>
                <a:gd name="T17" fmla="*/ 573 h 573"/>
                <a:gd name="T18" fmla="*/ 2651 w 3874"/>
                <a:gd name="T19" fmla="*/ 359 h 573"/>
                <a:gd name="T20" fmla="*/ 2954 w 3874"/>
                <a:gd name="T21" fmla="*/ 569 h 573"/>
                <a:gd name="T22" fmla="*/ 2784 w 3874"/>
                <a:gd name="T23" fmla="*/ 16 h 573"/>
                <a:gd name="T24" fmla="*/ 2675 w 3874"/>
                <a:gd name="T25" fmla="*/ 302 h 573"/>
                <a:gd name="T26" fmla="*/ 2760 w 3874"/>
                <a:gd name="T27" fmla="*/ 93 h 573"/>
                <a:gd name="T28" fmla="*/ 2675 w 3874"/>
                <a:gd name="T29" fmla="*/ 302 h 573"/>
                <a:gd name="T30" fmla="*/ 1742 w 3874"/>
                <a:gd name="T31" fmla="*/ 0 h 573"/>
                <a:gd name="T32" fmla="*/ 1549 w 3874"/>
                <a:gd name="T33" fmla="*/ 430 h 573"/>
                <a:gd name="T34" fmla="*/ 1357 w 3874"/>
                <a:gd name="T35" fmla="*/ 0 h 573"/>
                <a:gd name="T36" fmla="*/ 1237 w 3874"/>
                <a:gd name="T37" fmla="*/ 543 h 573"/>
                <a:gd name="T38" fmla="*/ 1261 w 3874"/>
                <a:gd name="T39" fmla="*/ 573 h 573"/>
                <a:gd name="T40" fmla="*/ 1366 w 3874"/>
                <a:gd name="T41" fmla="*/ 116 h 573"/>
                <a:gd name="T42" fmla="*/ 1549 w 3874"/>
                <a:gd name="T43" fmla="*/ 523 h 573"/>
                <a:gd name="T44" fmla="*/ 1732 w 3874"/>
                <a:gd name="T45" fmla="*/ 116 h 573"/>
                <a:gd name="T46" fmla="*/ 1868 w 3874"/>
                <a:gd name="T47" fmla="*/ 570 h 573"/>
                <a:gd name="T48" fmla="*/ 1742 w 3874"/>
                <a:gd name="T49" fmla="*/ 0 h 573"/>
                <a:gd name="T50" fmla="*/ 2226 w 3874"/>
                <a:gd name="T51" fmla="*/ 57 h 573"/>
                <a:gd name="T52" fmla="*/ 2429 w 3874"/>
                <a:gd name="T53" fmla="*/ 124 h 573"/>
                <a:gd name="T54" fmla="*/ 2429 w 3874"/>
                <a:gd name="T55" fmla="*/ 84 h 573"/>
                <a:gd name="T56" fmla="*/ 2226 w 3874"/>
                <a:gd name="T57" fmla="*/ 0 h 573"/>
                <a:gd name="T58" fmla="*/ 2226 w 3874"/>
                <a:gd name="T59" fmla="*/ 573 h 573"/>
                <a:gd name="T60" fmla="*/ 2397 w 3874"/>
                <a:gd name="T61" fmla="*/ 440 h 573"/>
                <a:gd name="T62" fmla="*/ 1996 w 3874"/>
                <a:gd name="T63" fmla="*/ 286 h 573"/>
                <a:gd name="T64" fmla="*/ 285 w 3874"/>
                <a:gd name="T65" fmla="*/ 57 h 573"/>
                <a:gd name="T66" fmla="*/ 448 w 3874"/>
                <a:gd name="T67" fmla="*/ 124 h 573"/>
                <a:gd name="T68" fmla="*/ 497 w 3874"/>
                <a:gd name="T69" fmla="*/ 104 h 573"/>
                <a:gd name="T70" fmla="*/ 485 w 3874"/>
                <a:gd name="T71" fmla="*/ 80 h 573"/>
                <a:gd name="T72" fmla="*/ 0 w 3874"/>
                <a:gd name="T73" fmla="*/ 287 h 573"/>
                <a:gd name="T74" fmla="*/ 497 w 3874"/>
                <a:gd name="T75" fmla="*/ 480 h 573"/>
                <a:gd name="T76" fmla="*/ 286 w 3874"/>
                <a:gd name="T77" fmla="*/ 516 h 573"/>
                <a:gd name="T78" fmla="*/ 285 w 3874"/>
                <a:gd name="T79" fmla="*/ 57 h 573"/>
                <a:gd name="T80" fmla="*/ 3341 w 3874"/>
                <a:gd name="T81" fmla="*/ 290 h 573"/>
                <a:gd name="T82" fmla="*/ 3152 w 3874"/>
                <a:gd name="T83" fmla="*/ 142 h 573"/>
                <a:gd name="T84" fmla="*/ 3361 w 3874"/>
                <a:gd name="T85" fmla="*/ 86 h 573"/>
                <a:gd name="T86" fmla="*/ 3403 w 3874"/>
                <a:gd name="T87" fmla="*/ 61 h 573"/>
                <a:gd name="T88" fmla="*/ 3262 w 3874"/>
                <a:gd name="T89" fmla="*/ 0 h 573"/>
                <a:gd name="T90" fmla="*/ 3194 w 3874"/>
                <a:gd name="T91" fmla="*/ 277 h 573"/>
                <a:gd name="T92" fmla="*/ 3375 w 3874"/>
                <a:gd name="T93" fmla="*/ 423 h 573"/>
                <a:gd name="T94" fmla="*/ 3129 w 3874"/>
                <a:gd name="T95" fmla="*/ 456 h 573"/>
                <a:gd name="T96" fmla="*/ 3082 w 3874"/>
                <a:gd name="T97" fmla="*/ 489 h 573"/>
                <a:gd name="T98" fmla="*/ 3266 w 3874"/>
                <a:gd name="T99" fmla="*/ 572 h 573"/>
                <a:gd name="T100" fmla="*/ 3341 w 3874"/>
                <a:gd name="T101" fmla="*/ 290 h 573"/>
                <a:gd name="T102" fmla="*/ 872 w 3874"/>
                <a:gd name="T103" fmla="*/ 0 h 573"/>
                <a:gd name="T104" fmla="*/ 872 w 3874"/>
                <a:gd name="T105" fmla="*/ 573 h 573"/>
                <a:gd name="T106" fmla="*/ 872 w 3874"/>
                <a:gd name="T107" fmla="*/ 0 h 573"/>
                <a:gd name="T108" fmla="*/ 872 w 3874"/>
                <a:gd name="T109" fmla="*/ 516 h 573"/>
                <a:gd name="T110" fmla="*/ 872 w 3874"/>
                <a:gd name="T111" fmla="*/ 56 h 573"/>
                <a:gd name="T112" fmla="*/ 872 w 3874"/>
                <a:gd name="T113" fmla="*/ 51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74" h="573">
                  <a:moveTo>
                    <a:pt x="3874" y="31"/>
                  </a:moveTo>
                  <a:lnTo>
                    <a:pt x="3874" y="31"/>
                  </a:lnTo>
                  <a:cubicBezTo>
                    <a:pt x="3874" y="16"/>
                    <a:pt x="3861" y="3"/>
                    <a:pt x="3846" y="3"/>
                  </a:cubicBezTo>
                  <a:lnTo>
                    <a:pt x="3527" y="3"/>
                  </a:lnTo>
                  <a:cubicBezTo>
                    <a:pt x="3512" y="3"/>
                    <a:pt x="3499" y="15"/>
                    <a:pt x="3499" y="31"/>
                  </a:cubicBezTo>
                  <a:cubicBezTo>
                    <a:pt x="3499" y="47"/>
                    <a:pt x="3511" y="59"/>
                    <a:pt x="3527" y="59"/>
                  </a:cubicBezTo>
                  <a:lnTo>
                    <a:pt x="3661" y="59"/>
                  </a:lnTo>
                  <a:lnTo>
                    <a:pt x="3661" y="569"/>
                  </a:lnTo>
                  <a:lnTo>
                    <a:pt x="3713" y="569"/>
                  </a:lnTo>
                  <a:lnTo>
                    <a:pt x="3713" y="59"/>
                  </a:lnTo>
                  <a:lnTo>
                    <a:pt x="3846" y="59"/>
                  </a:lnTo>
                  <a:cubicBezTo>
                    <a:pt x="3862" y="60"/>
                    <a:pt x="3874" y="47"/>
                    <a:pt x="3874" y="31"/>
                  </a:cubicBezTo>
                  <a:close/>
                  <a:moveTo>
                    <a:pt x="2759" y="0"/>
                  </a:moveTo>
                  <a:lnTo>
                    <a:pt x="2759" y="0"/>
                  </a:lnTo>
                  <a:cubicBezTo>
                    <a:pt x="2748" y="0"/>
                    <a:pt x="2741" y="7"/>
                    <a:pt x="2735" y="16"/>
                  </a:cubicBezTo>
                  <a:cubicBezTo>
                    <a:pt x="2731" y="26"/>
                    <a:pt x="2523" y="538"/>
                    <a:pt x="2523" y="538"/>
                  </a:cubicBezTo>
                  <a:cubicBezTo>
                    <a:pt x="2522" y="541"/>
                    <a:pt x="2521" y="544"/>
                    <a:pt x="2521" y="547"/>
                  </a:cubicBezTo>
                  <a:cubicBezTo>
                    <a:pt x="2521" y="562"/>
                    <a:pt x="2532" y="573"/>
                    <a:pt x="2547" y="573"/>
                  </a:cubicBezTo>
                  <a:cubicBezTo>
                    <a:pt x="2558" y="573"/>
                    <a:pt x="2567" y="566"/>
                    <a:pt x="2570" y="556"/>
                  </a:cubicBezTo>
                  <a:lnTo>
                    <a:pt x="2651" y="359"/>
                  </a:lnTo>
                  <a:lnTo>
                    <a:pt x="2868" y="359"/>
                  </a:lnTo>
                  <a:lnTo>
                    <a:pt x="2954" y="569"/>
                  </a:lnTo>
                  <a:lnTo>
                    <a:pt x="3009" y="569"/>
                  </a:lnTo>
                  <a:cubicBezTo>
                    <a:pt x="3009" y="569"/>
                    <a:pt x="2788" y="25"/>
                    <a:pt x="2784" y="16"/>
                  </a:cubicBezTo>
                  <a:cubicBezTo>
                    <a:pt x="2779" y="7"/>
                    <a:pt x="2770" y="0"/>
                    <a:pt x="2759" y="0"/>
                  </a:cubicBezTo>
                  <a:close/>
                  <a:moveTo>
                    <a:pt x="2675" y="302"/>
                  </a:moveTo>
                  <a:lnTo>
                    <a:pt x="2675" y="302"/>
                  </a:lnTo>
                  <a:lnTo>
                    <a:pt x="2760" y="93"/>
                  </a:lnTo>
                  <a:lnTo>
                    <a:pt x="2845" y="302"/>
                  </a:lnTo>
                  <a:lnTo>
                    <a:pt x="2675" y="302"/>
                  </a:lnTo>
                  <a:close/>
                  <a:moveTo>
                    <a:pt x="1742" y="0"/>
                  </a:moveTo>
                  <a:lnTo>
                    <a:pt x="1742" y="0"/>
                  </a:lnTo>
                  <a:cubicBezTo>
                    <a:pt x="1731" y="0"/>
                    <a:pt x="1723" y="7"/>
                    <a:pt x="1718" y="16"/>
                  </a:cubicBezTo>
                  <a:cubicBezTo>
                    <a:pt x="1714" y="25"/>
                    <a:pt x="1549" y="430"/>
                    <a:pt x="1549" y="430"/>
                  </a:cubicBezTo>
                  <a:cubicBezTo>
                    <a:pt x="1549" y="430"/>
                    <a:pt x="1385" y="24"/>
                    <a:pt x="1381" y="16"/>
                  </a:cubicBezTo>
                  <a:cubicBezTo>
                    <a:pt x="1376" y="7"/>
                    <a:pt x="1368" y="0"/>
                    <a:pt x="1357" y="0"/>
                  </a:cubicBezTo>
                  <a:cubicBezTo>
                    <a:pt x="1345" y="0"/>
                    <a:pt x="1335" y="9"/>
                    <a:pt x="1332" y="21"/>
                  </a:cubicBezTo>
                  <a:cubicBezTo>
                    <a:pt x="1329" y="33"/>
                    <a:pt x="1237" y="543"/>
                    <a:pt x="1237" y="543"/>
                  </a:cubicBezTo>
                  <a:cubicBezTo>
                    <a:pt x="1237" y="545"/>
                    <a:pt x="1236" y="546"/>
                    <a:pt x="1236" y="548"/>
                  </a:cubicBezTo>
                  <a:cubicBezTo>
                    <a:pt x="1236" y="562"/>
                    <a:pt x="1247" y="573"/>
                    <a:pt x="1261" y="573"/>
                  </a:cubicBezTo>
                  <a:cubicBezTo>
                    <a:pt x="1273" y="573"/>
                    <a:pt x="1284" y="564"/>
                    <a:pt x="1286" y="553"/>
                  </a:cubicBezTo>
                  <a:lnTo>
                    <a:pt x="1366" y="116"/>
                  </a:lnTo>
                  <a:cubicBezTo>
                    <a:pt x="1366" y="116"/>
                    <a:pt x="1521" y="498"/>
                    <a:pt x="1526" y="507"/>
                  </a:cubicBezTo>
                  <a:cubicBezTo>
                    <a:pt x="1530" y="516"/>
                    <a:pt x="1538" y="523"/>
                    <a:pt x="1549" y="523"/>
                  </a:cubicBezTo>
                  <a:cubicBezTo>
                    <a:pt x="1560" y="523"/>
                    <a:pt x="1569" y="516"/>
                    <a:pt x="1573" y="507"/>
                  </a:cubicBezTo>
                  <a:cubicBezTo>
                    <a:pt x="1578" y="498"/>
                    <a:pt x="1732" y="116"/>
                    <a:pt x="1732" y="116"/>
                  </a:cubicBezTo>
                  <a:lnTo>
                    <a:pt x="1816" y="570"/>
                  </a:lnTo>
                  <a:lnTo>
                    <a:pt x="1868" y="570"/>
                  </a:lnTo>
                  <a:cubicBezTo>
                    <a:pt x="1868" y="570"/>
                    <a:pt x="1770" y="33"/>
                    <a:pt x="1767" y="21"/>
                  </a:cubicBezTo>
                  <a:cubicBezTo>
                    <a:pt x="1763" y="9"/>
                    <a:pt x="1754" y="0"/>
                    <a:pt x="1742" y="0"/>
                  </a:cubicBezTo>
                  <a:close/>
                  <a:moveTo>
                    <a:pt x="2226" y="57"/>
                  </a:moveTo>
                  <a:lnTo>
                    <a:pt x="2226" y="57"/>
                  </a:lnTo>
                  <a:cubicBezTo>
                    <a:pt x="2288" y="57"/>
                    <a:pt x="2345" y="80"/>
                    <a:pt x="2389" y="124"/>
                  </a:cubicBezTo>
                  <a:cubicBezTo>
                    <a:pt x="2399" y="134"/>
                    <a:pt x="2419" y="134"/>
                    <a:pt x="2429" y="124"/>
                  </a:cubicBezTo>
                  <a:cubicBezTo>
                    <a:pt x="2434" y="119"/>
                    <a:pt x="2437" y="112"/>
                    <a:pt x="2437" y="104"/>
                  </a:cubicBezTo>
                  <a:cubicBezTo>
                    <a:pt x="2437" y="96"/>
                    <a:pt x="2434" y="89"/>
                    <a:pt x="2429" y="84"/>
                  </a:cubicBezTo>
                  <a:lnTo>
                    <a:pt x="2426" y="80"/>
                  </a:lnTo>
                  <a:cubicBezTo>
                    <a:pt x="2372" y="29"/>
                    <a:pt x="2301" y="0"/>
                    <a:pt x="2226" y="0"/>
                  </a:cubicBezTo>
                  <a:cubicBezTo>
                    <a:pt x="2069" y="0"/>
                    <a:pt x="1940" y="129"/>
                    <a:pt x="1940" y="287"/>
                  </a:cubicBezTo>
                  <a:cubicBezTo>
                    <a:pt x="1940" y="445"/>
                    <a:pt x="2069" y="573"/>
                    <a:pt x="2226" y="573"/>
                  </a:cubicBezTo>
                  <a:cubicBezTo>
                    <a:pt x="2310" y="573"/>
                    <a:pt x="2385" y="538"/>
                    <a:pt x="2437" y="480"/>
                  </a:cubicBezTo>
                  <a:lnTo>
                    <a:pt x="2397" y="440"/>
                  </a:lnTo>
                  <a:cubicBezTo>
                    <a:pt x="2355" y="487"/>
                    <a:pt x="2294" y="516"/>
                    <a:pt x="2226" y="516"/>
                  </a:cubicBezTo>
                  <a:cubicBezTo>
                    <a:pt x="2100" y="516"/>
                    <a:pt x="1996" y="413"/>
                    <a:pt x="1996" y="286"/>
                  </a:cubicBezTo>
                  <a:cubicBezTo>
                    <a:pt x="1996" y="160"/>
                    <a:pt x="2100" y="57"/>
                    <a:pt x="2226" y="57"/>
                  </a:cubicBezTo>
                  <a:close/>
                  <a:moveTo>
                    <a:pt x="285" y="57"/>
                  </a:moveTo>
                  <a:lnTo>
                    <a:pt x="285" y="57"/>
                  </a:lnTo>
                  <a:cubicBezTo>
                    <a:pt x="347" y="57"/>
                    <a:pt x="404" y="80"/>
                    <a:pt x="448" y="124"/>
                  </a:cubicBezTo>
                  <a:cubicBezTo>
                    <a:pt x="459" y="134"/>
                    <a:pt x="478" y="134"/>
                    <a:pt x="488" y="124"/>
                  </a:cubicBezTo>
                  <a:cubicBezTo>
                    <a:pt x="494" y="119"/>
                    <a:pt x="497" y="112"/>
                    <a:pt x="497" y="104"/>
                  </a:cubicBezTo>
                  <a:cubicBezTo>
                    <a:pt x="497" y="96"/>
                    <a:pt x="494" y="89"/>
                    <a:pt x="488" y="84"/>
                  </a:cubicBezTo>
                  <a:lnTo>
                    <a:pt x="485" y="80"/>
                  </a:lnTo>
                  <a:cubicBezTo>
                    <a:pt x="431" y="29"/>
                    <a:pt x="361" y="0"/>
                    <a:pt x="286" y="0"/>
                  </a:cubicBezTo>
                  <a:cubicBezTo>
                    <a:pt x="128" y="0"/>
                    <a:pt x="0" y="129"/>
                    <a:pt x="0" y="287"/>
                  </a:cubicBezTo>
                  <a:cubicBezTo>
                    <a:pt x="0" y="445"/>
                    <a:pt x="128" y="573"/>
                    <a:pt x="286" y="573"/>
                  </a:cubicBezTo>
                  <a:cubicBezTo>
                    <a:pt x="369" y="573"/>
                    <a:pt x="444" y="538"/>
                    <a:pt x="497" y="480"/>
                  </a:cubicBezTo>
                  <a:lnTo>
                    <a:pt x="457" y="440"/>
                  </a:lnTo>
                  <a:cubicBezTo>
                    <a:pt x="415" y="487"/>
                    <a:pt x="353" y="516"/>
                    <a:pt x="286" y="516"/>
                  </a:cubicBezTo>
                  <a:cubicBezTo>
                    <a:pt x="159" y="516"/>
                    <a:pt x="56" y="413"/>
                    <a:pt x="56" y="286"/>
                  </a:cubicBezTo>
                  <a:cubicBezTo>
                    <a:pt x="55" y="160"/>
                    <a:pt x="159" y="57"/>
                    <a:pt x="285" y="57"/>
                  </a:cubicBezTo>
                  <a:close/>
                  <a:moveTo>
                    <a:pt x="3341" y="290"/>
                  </a:moveTo>
                  <a:lnTo>
                    <a:pt x="3341" y="290"/>
                  </a:lnTo>
                  <a:cubicBezTo>
                    <a:pt x="3326" y="282"/>
                    <a:pt x="3233" y="234"/>
                    <a:pt x="3219" y="227"/>
                  </a:cubicBezTo>
                  <a:cubicBezTo>
                    <a:pt x="3170" y="201"/>
                    <a:pt x="3152" y="179"/>
                    <a:pt x="3152" y="142"/>
                  </a:cubicBezTo>
                  <a:cubicBezTo>
                    <a:pt x="3152" y="90"/>
                    <a:pt x="3195" y="56"/>
                    <a:pt x="3262" y="56"/>
                  </a:cubicBezTo>
                  <a:cubicBezTo>
                    <a:pt x="3301" y="56"/>
                    <a:pt x="3339" y="73"/>
                    <a:pt x="3361" y="86"/>
                  </a:cubicBezTo>
                  <a:cubicBezTo>
                    <a:pt x="3365" y="88"/>
                    <a:pt x="3370" y="89"/>
                    <a:pt x="3374" y="89"/>
                  </a:cubicBezTo>
                  <a:cubicBezTo>
                    <a:pt x="3390" y="89"/>
                    <a:pt x="3403" y="77"/>
                    <a:pt x="3403" y="61"/>
                  </a:cubicBezTo>
                  <a:cubicBezTo>
                    <a:pt x="3403" y="51"/>
                    <a:pt x="3397" y="42"/>
                    <a:pt x="3388" y="37"/>
                  </a:cubicBezTo>
                  <a:cubicBezTo>
                    <a:pt x="3361" y="21"/>
                    <a:pt x="3313" y="0"/>
                    <a:pt x="3262" y="0"/>
                  </a:cubicBezTo>
                  <a:cubicBezTo>
                    <a:pt x="3165" y="0"/>
                    <a:pt x="3097" y="58"/>
                    <a:pt x="3097" y="142"/>
                  </a:cubicBezTo>
                  <a:cubicBezTo>
                    <a:pt x="3097" y="217"/>
                    <a:pt x="3146" y="252"/>
                    <a:pt x="3194" y="277"/>
                  </a:cubicBezTo>
                  <a:cubicBezTo>
                    <a:pt x="3208" y="284"/>
                    <a:pt x="3302" y="333"/>
                    <a:pt x="3317" y="340"/>
                  </a:cubicBezTo>
                  <a:cubicBezTo>
                    <a:pt x="3354" y="360"/>
                    <a:pt x="3375" y="390"/>
                    <a:pt x="3375" y="423"/>
                  </a:cubicBezTo>
                  <a:cubicBezTo>
                    <a:pt x="3375" y="468"/>
                    <a:pt x="3337" y="516"/>
                    <a:pt x="3266" y="516"/>
                  </a:cubicBezTo>
                  <a:cubicBezTo>
                    <a:pt x="3196" y="516"/>
                    <a:pt x="3143" y="470"/>
                    <a:pt x="3129" y="456"/>
                  </a:cubicBezTo>
                  <a:lnTo>
                    <a:pt x="3124" y="451"/>
                  </a:lnTo>
                  <a:lnTo>
                    <a:pt x="3082" y="489"/>
                  </a:lnTo>
                  <a:lnTo>
                    <a:pt x="3087" y="494"/>
                  </a:lnTo>
                  <a:cubicBezTo>
                    <a:pt x="3106" y="512"/>
                    <a:pt x="3173" y="572"/>
                    <a:pt x="3266" y="572"/>
                  </a:cubicBezTo>
                  <a:cubicBezTo>
                    <a:pt x="3369" y="572"/>
                    <a:pt x="3431" y="496"/>
                    <a:pt x="3431" y="422"/>
                  </a:cubicBezTo>
                  <a:cubicBezTo>
                    <a:pt x="3431" y="368"/>
                    <a:pt x="3398" y="320"/>
                    <a:pt x="3341" y="290"/>
                  </a:cubicBezTo>
                  <a:close/>
                  <a:moveTo>
                    <a:pt x="872" y="0"/>
                  </a:moveTo>
                  <a:lnTo>
                    <a:pt x="872" y="0"/>
                  </a:lnTo>
                  <a:cubicBezTo>
                    <a:pt x="715" y="0"/>
                    <a:pt x="586" y="129"/>
                    <a:pt x="586" y="287"/>
                  </a:cubicBezTo>
                  <a:cubicBezTo>
                    <a:pt x="586" y="445"/>
                    <a:pt x="715" y="573"/>
                    <a:pt x="872" y="573"/>
                  </a:cubicBezTo>
                  <a:cubicBezTo>
                    <a:pt x="1030" y="573"/>
                    <a:pt x="1159" y="445"/>
                    <a:pt x="1159" y="287"/>
                  </a:cubicBezTo>
                  <a:cubicBezTo>
                    <a:pt x="1159" y="129"/>
                    <a:pt x="1030" y="0"/>
                    <a:pt x="872" y="0"/>
                  </a:cubicBezTo>
                  <a:close/>
                  <a:moveTo>
                    <a:pt x="872" y="516"/>
                  </a:moveTo>
                  <a:lnTo>
                    <a:pt x="872" y="516"/>
                  </a:lnTo>
                  <a:cubicBezTo>
                    <a:pt x="746" y="516"/>
                    <a:pt x="642" y="413"/>
                    <a:pt x="642" y="286"/>
                  </a:cubicBezTo>
                  <a:cubicBezTo>
                    <a:pt x="642" y="159"/>
                    <a:pt x="746" y="56"/>
                    <a:pt x="872" y="56"/>
                  </a:cubicBezTo>
                  <a:cubicBezTo>
                    <a:pt x="999" y="56"/>
                    <a:pt x="1103" y="159"/>
                    <a:pt x="1103" y="286"/>
                  </a:cubicBezTo>
                  <a:cubicBezTo>
                    <a:pt x="1102" y="413"/>
                    <a:pt x="999" y="516"/>
                    <a:pt x="872" y="516"/>
                  </a:cubicBezTo>
                  <a:close/>
                </a:path>
              </a:pathLst>
            </a:custGeom>
            <a:solidFill>
              <a:srgbClr val="112F6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D8931567-3AE5-4274-8FB1-4124BC4D78BC}"/>
                </a:ext>
              </a:extLst>
            </p:cNvPr>
            <p:cNvSpPr>
              <a:spLocks noEditPoints="1"/>
            </p:cNvSpPr>
            <p:nvPr userDrawn="1"/>
          </p:nvSpPr>
          <p:spPr bwMode="auto">
            <a:xfrm>
              <a:off x="1114" y="4035"/>
              <a:ext cx="763" cy="116"/>
            </a:xfrm>
            <a:custGeom>
              <a:avLst/>
              <a:gdLst>
                <a:gd name="T0" fmla="*/ 3647 w 3842"/>
                <a:gd name="T1" fmla="*/ 576 h 576"/>
                <a:gd name="T2" fmla="*/ 3634 w 3842"/>
                <a:gd name="T3" fmla="*/ 216 h 576"/>
                <a:gd name="T4" fmla="*/ 3742 w 3842"/>
                <a:gd name="T5" fmla="*/ 105 h 576"/>
                <a:gd name="T6" fmla="*/ 3789 w 3842"/>
                <a:gd name="T7" fmla="*/ 28 h 576"/>
                <a:gd name="T8" fmla="*/ 3606 w 3842"/>
                <a:gd name="T9" fmla="*/ 307 h 576"/>
                <a:gd name="T10" fmla="*/ 3656 w 3842"/>
                <a:gd name="T11" fmla="*/ 487 h 576"/>
                <a:gd name="T12" fmla="*/ 2997 w 3842"/>
                <a:gd name="T13" fmla="*/ 491 h 576"/>
                <a:gd name="T14" fmla="*/ 3376 w 3842"/>
                <a:gd name="T15" fmla="*/ 415 h 576"/>
                <a:gd name="T16" fmla="*/ 3116 w 3842"/>
                <a:gd name="T17" fmla="*/ 149 h 576"/>
                <a:gd name="T18" fmla="*/ 3314 w 3842"/>
                <a:gd name="T19" fmla="*/ 116 h 576"/>
                <a:gd name="T20" fmla="*/ 3197 w 3842"/>
                <a:gd name="T21" fmla="*/ 0 h 576"/>
                <a:gd name="T22" fmla="*/ 3217 w 3842"/>
                <a:gd name="T23" fmla="*/ 343 h 576"/>
                <a:gd name="T24" fmla="*/ 3065 w 3842"/>
                <a:gd name="T25" fmla="*/ 428 h 576"/>
                <a:gd name="T26" fmla="*/ 1117 w 3842"/>
                <a:gd name="T27" fmla="*/ 491 h 576"/>
                <a:gd name="T28" fmla="*/ 1381 w 3842"/>
                <a:gd name="T29" fmla="*/ 261 h 576"/>
                <a:gd name="T30" fmla="*/ 1321 w 3842"/>
                <a:gd name="T31" fmla="*/ 87 h 576"/>
                <a:gd name="T32" fmla="*/ 1476 w 3842"/>
                <a:gd name="T33" fmla="*/ 72 h 576"/>
                <a:gd name="T34" fmla="*/ 1140 w 3842"/>
                <a:gd name="T35" fmla="*/ 153 h 576"/>
                <a:gd name="T36" fmla="*/ 1400 w 3842"/>
                <a:gd name="T37" fmla="*/ 417 h 576"/>
                <a:gd name="T38" fmla="*/ 1117 w 3842"/>
                <a:gd name="T39" fmla="*/ 491 h 576"/>
                <a:gd name="T40" fmla="*/ 1903 w 3842"/>
                <a:gd name="T41" fmla="*/ 43 h 576"/>
                <a:gd name="T42" fmla="*/ 1994 w 3842"/>
                <a:gd name="T43" fmla="*/ 531 h 576"/>
                <a:gd name="T44" fmla="*/ 2328 w 3842"/>
                <a:gd name="T45" fmla="*/ 576 h 576"/>
                <a:gd name="T46" fmla="*/ 2282 w 3842"/>
                <a:gd name="T47" fmla="*/ 3 h 576"/>
                <a:gd name="T48" fmla="*/ 1949 w 3842"/>
                <a:gd name="T49" fmla="*/ 0 h 576"/>
                <a:gd name="T50" fmla="*/ 426 w 3842"/>
                <a:gd name="T51" fmla="*/ 402 h 576"/>
                <a:gd name="T52" fmla="*/ 0 w 3842"/>
                <a:gd name="T53" fmla="*/ 47 h 576"/>
                <a:gd name="T54" fmla="*/ 399 w 3842"/>
                <a:gd name="T55" fmla="*/ 147 h 576"/>
                <a:gd name="T56" fmla="*/ 91 w 3842"/>
                <a:gd name="T57" fmla="*/ 230 h 576"/>
                <a:gd name="T58" fmla="*/ 229 w 3842"/>
                <a:gd name="T59" fmla="*/ 92 h 576"/>
                <a:gd name="T60" fmla="*/ 235 w 3842"/>
                <a:gd name="T61" fmla="*/ 484 h 576"/>
                <a:gd name="T62" fmla="*/ 235 w 3842"/>
                <a:gd name="T63" fmla="*/ 314 h 576"/>
                <a:gd name="T64" fmla="*/ 235 w 3842"/>
                <a:gd name="T65" fmla="*/ 484 h 576"/>
                <a:gd name="T66" fmla="*/ 2906 w 3842"/>
                <a:gd name="T67" fmla="*/ 48 h 576"/>
                <a:gd name="T68" fmla="*/ 2532 w 3842"/>
                <a:gd name="T69" fmla="*/ 48 h 576"/>
                <a:gd name="T70" fmla="*/ 2903 w 3842"/>
                <a:gd name="T71" fmla="*/ 573 h 576"/>
                <a:gd name="T72" fmla="*/ 2624 w 3842"/>
                <a:gd name="T73" fmla="*/ 318 h 576"/>
                <a:gd name="T74" fmla="*/ 2834 w 3842"/>
                <a:gd name="T75" fmla="*/ 229 h 576"/>
                <a:gd name="T76" fmla="*/ 2858 w 3842"/>
                <a:gd name="T77" fmla="*/ 92 h 576"/>
                <a:gd name="T78" fmla="*/ 634 w 3842"/>
                <a:gd name="T79" fmla="*/ 44 h 576"/>
                <a:gd name="T80" fmla="*/ 542 w 3842"/>
                <a:gd name="T81" fmla="*/ 343 h 576"/>
                <a:gd name="T82" fmla="*/ 1010 w 3842"/>
                <a:gd name="T83" fmla="*/ 2 h 576"/>
                <a:gd name="T84" fmla="*/ 776 w 3842"/>
                <a:gd name="T85" fmla="*/ 488 h 576"/>
                <a:gd name="T86" fmla="*/ 1676 w 3842"/>
                <a:gd name="T87" fmla="*/ 0 h 576"/>
                <a:gd name="T88" fmla="*/ 1630 w 3842"/>
                <a:gd name="T89" fmla="*/ 57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42" h="576">
                  <a:moveTo>
                    <a:pt x="3464" y="491"/>
                  </a:moveTo>
                  <a:lnTo>
                    <a:pt x="3464" y="491"/>
                  </a:lnTo>
                  <a:cubicBezTo>
                    <a:pt x="3475" y="506"/>
                    <a:pt x="3529" y="576"/>
                    <a:pt x="3647" y="576"/>
                  </a:cubicBezTo>
                  <a:cubicBezTo>
                    <a:pt x="3763" y="576"/>
                    <a:pt x="3842" y="509"/>
                    <a:pt x="3842" y="415"/>
                  </a:cubicBezTo>
                  <a:cubicBezTo>
                    <a:pt x="3842" y="354"/>
                    <a:pt x="3818" y="305"/>
                    <a:pt x="3727" y="261"/>
                  </a:cubicBezTo>
                  <a:cubicBezTo>
                    <a:pt x="3703" y="249"/>
                    <a:pt x="3634" y="216"/>
                    <a:pt x="3634" y="216"/>
                  </a:cubicBezTo>
                  <a:cubicBezTo>
                    <a:pt x="3599" y="199"/>
                    <a:pt x="3583" y="178"/>
                    <a:pt x="3583" y="149"/>
                  </a:cubicBezTo>
                  <a:cubicBezTo>
                    <a:pt x="3583" y="120"/>
                    <a:pt x="3607" y="87"/>
                    <a:pt x="3667" y="87"/>
                  </a:cubicBezTo>
                  <a:cubicBezTo>
                    <a:pt x="3701" y="87"/>
                    <a:pt x="3727" y="98"/>
                    <a:pt x="3742" y="105"/>
                  </a:cubicBezTo>
                  <a:cubicBezTo>
                    <a:pt x="3748" y="108"/>
                    <a:pt x="3764" y="116"/>
                    <a:pt x="3780" y="116"/>
                  </a:cubicBezTo>
                  <a:cubicBezTo>
                    <a:pt x="3800" y="116"/>
                    <a:pt x="3822" y="102"/>
                    <a:pt x="3822" y="72"/>
                  </a:cubicBezTo>
                  <a:cubicBezTo>
                    <a:pt x="3822" y="48"/>
                    <a:pt x="3804" y="35"/>
                    <a:pt x="3789" y="28"/>
                  </a:cubicBezTo>
                  <a:cubicBezTo>
                    <a:pt x="3764" y="16"/>
                    <a:pt x="3726" y="0"/>
                    <a:pt x="3662" y="0"/>
                  </a:cubicBezTo>
                  <a:cubicBezTo>
                    <a:pt x="3561" y="0"/>
                    <a:pt x="3486" y="63"/>
                    <a:pt x="3486" y="153"/>
                  </a:cubicBezTo>
                  <a:cubicBezTo>
                    <a:pt x="3486" y="234"/>
                    <a:pt x="3540" y="275"/>
                    <a:pt x="3606" y="307"/>
                  </a:cubicBezTo>
                  <a:cubicBezTo>
                    <a:pt x="3619" y="312"/>
                    <a:pt x="3668" y="336"/>
                    <a:pt x="3681" y="343"/>
                  </a:cubicBezTo>
                  <a:cubicBezTo>
                    <a:pt x="3724" y="363"/>
                    <a:pt x="3746" y="382"/>
                    <a:pt x="3746" y="417"/>
                  </a:cubicBezTo>
                  <a:cubicBezTo>
                    <a:pt x="3746" y="455"/>
                    <a:pt x="3710" y="487"/>
                    <a:pt x="3656" y="487"/>
                  </a:cubicBezTo>
                  <a:cubicBezTo>
                    <a:pt x="3579" y="487"/>
                    <a:pt x="3538" y="436"/>
                    <a:pt x="3531" y="428"/>
                  </a:cubicBezTo>
                  <a:lnTo>
                    <a:pt x="3464" y="491"/>
                  </a:lnTo>
                  <a:close/>
                  <a:moveTo>
                    <a:pt x="2997" y="491"/>
                  </a:moveTo>
                  <a:lnTo>
                    <a:pt x="2997" y="491"/>
                  </a:lnTo>
                  <a:cubicBezTo>
                    <a:pt x="3009" y="506"/>
                    <a:pt x="3063" y="576"/>
                    <a:pt x="3182" y="576"/>
                  </a:cubicBezTo>
                  <a:cubicBezTo>
                    <a:pt x="3297" y="576"/>
                    <a:pt x="3376" y="509"/>
                    <a:pt x="3376" y="415"/>
                  </a:cubicBezTo>
                  <a:cubicBezTo>
                    <a:pt x="3376" y="354"/>
                    <a:pt x="3352" y="305"/>
                    <a:pt x="3261" y="261"/>
                  </a:cubicBezTo>
                  <a:cubicBezTo>
                    <a:pt x="3237" y="249"/>
                    <a:pt x="3169" y="216"/>
                    <a:pt x="3169" y="216"/>
                  </a:cubicBezTo>
                  <a:cubicBezTo>
                    <a:pt x="3133" y="199"/>
                    <a:pt x="3116" y="178"/>
                    <a:pt x="3116" y="149"/>
                  </a:cubicBezTo>
                  <a:cubicBezTo>
                    <a:pt x="3116" y="120"/>
                    <a:pt x="3141" y="87"/>
                    <a:pt x="3201" y="87"/>
                  </a:cubicBezTo>
                  <a:cubicBezTo>
                    <a:pt x="3235" y="87"/>
                    <a:pt x="3261" y="98"/>
                    <a:pt x="3275" y="105"/>
                  </a:cubicBezTo>
                  <a:cubicBezTo>
                    <a:pt x="3283" y="108"/>
                    <a:pt x="3299" y="116"/>
                    <a:pt x="3314" y="116"/>
                  </a:cubicBezTo>
                  <a:cubicBezTo>
                    <a:pt x="3334" y="116"/>
                    <a:pt x="3356" y="102"/>
                    <a:pt x="3356" y="72"/>
                  </a:cubicBezTo>
                  <a:cubicBezTo>
                    <a:pt x="3356" y="48"/>
                    <a:pt x="3339" y="35"/>
                    <a:pt x="3323" y="28"/>
                  </a:cubicBezTo>
                  <a:cubicBezTo>
                    <a:pt x="3299" y="16"/>
                    <a:pt x="3260" y="0"/>
                    <a:pt x="3197" y="0"/>
                  </a:cubicBezTo>
                  <a:cubicBezTo>
                    <a:pt x="3095" y="0"/>
                    <a:pt x="3020" y="63"/>
                    <a:pt x="3020" y="153"/>
                  </a:cubicBezTo>
                  <a:cubicBezTo>
                    <a:pt x="3020" y="234"/>
                    <a:pt x="3075" y="275"/>
                    <a:pt x="3141" y="307"/>
                  </a:cubicBezTo>
                  <a:cubicBezTo>
                    <a:pt x="3154" y="312"/>
                    <a:pt x="3203" y="336"/>
                    <a:pt x="3217" y="343"/>
                  </a:cubicBezTo>
                  <a:cubicBezTo>
                    <a:pt x="3258" y="363"/>
                    <a:pt x="3280" y="382"/>
                    <a:pt x="3280" y="417"/>
                  </a:cubicBezTo>
                  <a:cubicBezTo>
                    <a:pt x="3280" y="455"/>
                    <a:pt x="3244" y="487"/>
                    <a:pt x="3191" y="487"/>
                  </a:cubicBezTo>
                  <a:cubicBezTo>
                    <a:pt x="3113" y="487"/>
                    <a:pt x="3072" y="436"/>
                    <a:pt x="3065" y="428"/>
                  </a:cubicBezTo>
                  <a:lnTo>
                    <a:pt x="2997" y="491"/>
                  </a:lnTo>
                  <a:close/>
                  <a:moveTo>
                    <a:pt x="1117" y="491"/>
                  </a:moveTo>
                  <a:lnTo>
                    <a:pt x="1117" y="491"/>
                  </a:lnTo>
                  <a:cubicBezTo>
                    <a:pt x="1129" y="506"/>
                    <a:pt x="1182" y="576"/>
                    <a:pt x="1301" y="576"/>
                  </a:cubicBezTo>
                  <a:cubicBezTo>
                    <a:pt x="1417" y="576"/>
                    <a:pt x="1496" y="509"/>
                    <a:pt x="1496" y="415"/>
                  </a:cubicBezTo>
                  <a:cubicBezTo>
                    <a:pt x="1496" y="354"/>
                    <a:pt x="1472" y="305"/>
                    <a:pt x="1381" y="261"/>
                  </a:cubicBezTo>
                  <a:cubicBezTo>
                    <a:pt x="1356" y="249"/>
                    <a:pt x="1288" y="216"/>
                    <a:pt x="1288" y="216"/>
                  </a:cubicBezTo>
                  <a:cubicBezTo>
                    <a:pt x="1252" y="199"/>
                    <a:pt x="1236" y="178"/>
                    <a:pt x="1236" y="149"/>
                  </a:cubicBezTo>
                  <a:cubicBezTo>
                    <a:pt x="1236" y="120"/>
                    <a:pt x="1261" y="87"/>
                    <a:pt x="1321" y="87"/>
                  </a:cubicBezTo>
                  <a:cubicBezTo>
                    <a:pt x="1355" y="87"/>
                    <a:pt x="1381" y="98"/>
                    <a:pt x="1395" y="105"/>
                  </a:cubicBezTo>
                  <a:cubicBezTo>
                    <a:pt x="1402" y="108"/>
                    <a:pt x="1418" y="116"/>
                    <a:pt x="1434" y="116"/>
                  </a:cubicBezTo>
                  <a:cubicBezTo>
                    <a:pt x="1454" y="116"/>
                    <a:pt x="1476" y="102"/>
                    <a:pt x="1476" y="72"/>
                  </a:cubicBezTo>
                  <a:cubicBezTo>
                    <a:pt x="1476" y="48"/>
                    <a:pt x="1458" y="35"/>
                    <a:pt x="1443" y="28"/>
                  </a:cubicBezTo>
                  <a:cubicBezTo>
                    <a:pt x="1418" y="16"/>
                    <a:pt x="1380" y="0"/>
                    <a:pt x="1316" y="0"/>
                  </a:cubicBezTo>
                  <a:cubicBezTo>
                    <a:pt x="1215" y="0"/>
                    <a:pt x="1140" y="63"/>
                    <a:pt x="1140" y="153"/>
                  </a:cubicBezTo>
                  <a:cubicBezTo>
                    <a:pt x="1140" y="234"/>
                    <a:pt x="1195" y="275"/>
                    <a:pt x="1261" y="307"/>
                  </a:cubicBezTo>
                  <a:cubicBezTo>
                    <a:pt x="1273" y="312"/>
                    <a:pt x="1322" y="336"/>
                    <a:pt x="1336" y="343"/>
                  </a:cubicBezTo>
                  <a:cubicBezTo>
                    <a:pt x="1378" y="363"/>
                    <a:pt x="1400" y="382"/>
                    <a:pt x="1400" y="417"/>
                  </a:cubicBezTo>
                  <a:cubicBezTo>
                    <a:pt x="1400" y="455"/>
                    <a:pt x="1364" y="487"/>
                    <a:pt x="1310" y="487"/>
                  </a:cubicBezTo>
                  <a:cubicBezTo>
                    <a:pt x="1233" y="487"/>
                    <a:pt x="1192" y="436"/>
                    <a:pt x="1185" y="428"/>
                  </a:cubicBezTo>
                  <a:lnTo>
                    <a:pt x="1117" y="491"/>
                  </a:lnTo>
                  <a:close/>
                  <a:moveTo>
                    <a:pt x="1949" y="0"/>
                  </a:moveTo>
                  <a:lnTo>
                    <a:pt x="1949" y="0"/>
                  </a:lnTo>
                  <a:cubicBezTo>
                    <a:pt x="1921" y="0"/>
                    <a:pt x="1903" y="19"/>
                    <a:pt x="1903" y="43"/>
                  </a:cubicBezTo>
                  <a:lnTo>
                    <a:pt x="1903" y="531"/>
                  </a:lnTo>
                  <a:cubicBezTo>
                    <a:pt x="1903" y="555"/>
                    <a:pt x="1924" y="575"/>
                    <a:pt x="1949" y="575"/>
                  </a:cubicBezTo>
                  <a:cubicBezTo>
                    <a:pt x="1972" y="575"/>
                    <a:pt x="1994" y="555"/>
                    <a:pt x="1994" y="531"/>
                  </a:cubicBezTo>
                  <a:lnTo>
                    <a:pt x="1994" y="179"/>
                  </a:lnTo>
                  <a:cubicBezTo>
                    <a:pt x="1994" y="179"/>
                    <a:pt x="2218" y="465"/>
                    <a:pt x="2276" y="541"/>
                  </a:cubicBezTo>
                  <a:cubicBezTo>
                    <a:pt x="2291" y="559"/>
                    <a:pt x="2302" y="576"/>
                    <a:pt x="2328" y="576"/>
                  </a:cubicBezTo>
                  <a:cubicBezTo>
                    <a:pt x="2355" y="576"/>
                    <a:pt x="2373" y="556"/>
                    <a:pt x="2373" y="532"/>
                  </a:cubicBezTo>
                  <a:lnTo>
                    <a:pt x="2373" y="3"/>
                  </a:lnTo>
                  <a:lnTo>
                    <a:pt x="2282" y="3"/>
                  </a:lnTo>
                  <a:lnTo>
                    <a:pt x="2282" y="398"/>
                  </a:lnTo>
                  <a:cubicBezTo>
                    <a:pt x="2282" y="398"/>
                    <a:pt x="2033" y="78"/>
                    <a:pt x="1998" y="34"/>
                  </a:cubicBezTo>
                  <a:cubicBezTo>
                    <a:pt x="1982" y="13"/>
                    <a:pt x="1970" y="0"/>
                    <a:pt x="1949" y="0"/>
                  </a:cubicBezTo>
                  <a:close/>
                  <a:moveTo>
                    <a:pt x="342" y="264"/>
                  </a:moveTo>
                  <a:lnTo>
                    <a:pt x="342" y="264"/>
                  </a:lnTo>
                  <a:cubicBezTo>
                    <a:pt x="358" y="272"/>
                    <a:pt x="426" y="301"/>
                    <a:pt x="426" y="402"/>
                  </a:cubicBezTo>
                  <a:cubicBezTo>
                    <a:pt x="426" y="497"/>
                    <a:pt x="355" y="572"/>
                    <a:pt x="252" y="572"/>
                  </a:cubicBezTo>
                  <a:lnTo>
                    <a:pt x="0" y="572"/>
                  </a:lnTo>
                  <a:lnTo>
                    <a:pt x="0" y="47"/>
                  </a:lnTo>
                  <a:cubicBezTo>
                    <a:pt x="0" y="20"/>
                    <a:pt x="18" y="2"/>
                    <a:pt x="44" y="2"/>
                  </a:cubicBezTo>
                  <a:lnTo>
                    <a:pt x="241" y="2"/>
                  </a:lnTo>
                  <a:cubicBezTo>
                    <a:pt x="336" y="2"/>
                    <a:pt x="399" y="59"/>
                    <a:pt x="399" y="147"/>
                  </a:cubicBezTo>
                  <a:cubicBezTo>
                    <a:pt x="399" y="221"/>
                    <a:pt x="357" y="254"/>
                    <a:pt x="342" y="264"/>
                  </a:cubicBezTo>
                  <a:close/>
                  <a:moveTo>
                    <a:pt x="91" y="230"/>
                  </a:moveTo>
                  <a:lnTo>
                    <a:pt x="91" y="230"/>
                  </a:lnTo>
                  <a:lnTo>
                    <a:pt x="229" y="230"/>
                  </a:lnTo>
                  <a:cubicBezTo>
                    <a:pt x="278" y="230"/>
                    <a:pt x="306" y="199"/>
                    <a:pt x="306" y="161"/>
                  </a:cubicBezTo>
                  <a:cubicBezTo>
                    <a:pt x="306" y="123"/>
                    <a:pt x="281" y="92"/>
                    <a:pt x="229" y="92"/>
                  </a:cubicBezTo>
                  <a:lnTo>
                    <a:pt x="91" y="92"/>
                  </a:lnTo>
                  <a:lnTo>
                    <a:pt x="91" y="230"/>
                  </a:lnTo>
                  <a:close/>
                  <a:moveTo>
                    <a:pt x="235" y="484"/>
                  </a:moveTo>
                  <a:lnTo>
                    <a:pt x="235" y="484"/>
                  </a:lnTo>
                  <a:cubicBezTo>
                    <a:pt x="300" y="484"/>
                    <a:pt x="333" y="446"/>
                    <a:pt x="333" y="400"/>
                  </a:cubicBezTo>
                  <a:cubicBezTo>
                    <a:pt x="333" y="352"/>
                    <a:pt x="301" y="314"/>
                    <a:pt x="235" y="314"/>
                  </a:cubicBezTo>
                  <a:lnTo>
                    <a:pt x="91" y="314"/>
                  </a:lnTo>
                  <a:lnTo>
                    <a:pt x="91" y="484"/>
                  </a:lnTo>
                  <a:lnTo>
                    <a:pt x="235" y="484"/>
                  </a:lnTo>
                  <a:close/>
                  <a:moveTo>
                    <a:pt x="2858" y="92"/>
                  </a:moveTo>
                  <a:lnTo>
                    <a:pt x="2858" y="92"/>
                  </a:lnTo>
                  <a:cubicBezTo>
                    <a:pt x="2888" y="92"/>
                    <a:pt x="2906" y="73"/>
                    <a:pt x="2906" y="48"/>
                  </a:cubicBezTo>
                  <a:cubicBezTo>
                    <a:pt x="2906" y="23"/>
                    <a:pt x="2887" y="3"/>
                    <a:pt x="2858" y="3"/>
                  </a:cubicBezTo>
                  <a:lnTo>
                    <a:pt x="2576" y="3"/>
                  </a:lnTo>
                  <a:cubicBezTo>
                    <a:pt x="2551" y="3"/>
                    <a:pt x="2532" y="22"/>
                    <a:pt x="2532" y="48"/>
                  </a:cubicBezTo>
                  <a:lnTo>
                    <a:pt x="2532" y="529"/>
                  </a:lnTo>
                  <a:cubicBezTo>
                    <a:pt x="2532" y="554"/>
                    <a:pt x="2551" y="573"/>
                    <a:pt x="2576" y="573"/>
                  </a:cubicBezTo>
                  <a:lnTo>
                    <a:pt x="2903" y="573"/>
                  </a:lnTo>
                  <a:lnTo>
                    <a:pt x="2903" y="484"/>
                  </a:lnTo>
                  <a:lnTo>
                    <a:pt x="2624" y="484"/>
                  </a:lnTo>
                  <a:lnTo>
                    <a:pt x="2624" y="318"/>
                  </a:lnTo>
                  <a:lnTo>
                    <a:pt x="2834" y="318"/>
                  </a:lnTo>
                  <a:cubicBezTo>
                    <a:pt x="2866" y="318"/>
                    <a:pt x="2884" y="299"/>
                    <a:pt x="2884" y="274"/>
                  </a:cubicBezTo>
                  <a:cubicBezTo>
                    <a:pt x="2884" y="248"/>
                    <a:pt x="2867" y="229"/>
                    <a:pt x="2834" y="229"/>
                  </a:cubicBezTo>
                  <a:lnTo>
                    <a:pt x="2624" y="229"/>
                  </a:lnTo>
                  <a:lnTo>
                    <a:pt x="2624" y="92"/>
                  </a:lnTo>
                  <a:lnTo>
                    <a:pt x="2858" y="92"/>
                  </a:lnTo>
                  <a:close/>
                  <a:moveTo>
                    <a:pt x="634" y="346"/>
                  </a:moveTo>
                  <a:lnTo>
                    <a:pt x="634" y="346"/>
                  </a:lnTo>
                  <a:lnTo>
                    <a:pt x="634" y="44"/>
                  </a:lnTo>
                  <a:cubicBezTo>
                    <a:pt x="634" y="19"/>
                    <a:pt x="616" y="0"/>
                    <a:pt x="588" y="0"/>
                  </a:cubicBezTo>
                  <a:cubicBezTo>
                    <a:pt x="560" y="0"/>
                    <a:pt x="542" y="19"/>
                    <a:pt x="542" y="44"/>
                  </a:cubicBezTo>
                  <a:lnTo>
                    <a:pt x="542" y="343"/>
                  </a:lnTo>
                  <a:cubicBezTo>
                    <a:pt x="542" y="471"/>
                    <a:pt x="632" y="575"/>
                    <a:pt x="776" y="575"/>
                  </a:cubicBezTo>
                  <a:cubicBezTo>
                    <a:pt x="920" y="575"/>
                    <a:pt x="1010" y="471"/>
                    <a:pt x="1010" y="343"/>
                  </a:cubicBezTo>
                  <a:lnTo>
                    <a:pt x="1010" y="2"/>
                  </a:lnTo>
                  <a:lnTo>
                    <a:pt x="918" y="2"/>
                  </a:lnTo>
                  <a:lnTo>
                    <a:pt x="918" y="345"/>
                  </a:lnTo>
                  <a:cubicBezTo>
                    <a:pt x="918" y="421"/>
                    <a:pt x="867" y="488"/>
                    <a:pt x="776" y="488"/>
                  </a:cubicBezTo>
                  <a:cubicBezTo>
                    <a:pt x="684" y="489"/>
                    <a:pt x="634" y="422"/>
                    <a:pt x="634" y="346"/>
                  </a:cubicBezTo>
                  <a:close/>
                  <a:moveTo>
                    <a:pt x="1676" y="0"/>
                  </a:moveTo>
                  <a:lnTo>
                    <a:pt x="1676" y="0"/>
                  </a:lnTo>
                  <a:cubicBezTo>
                    <a:pt x="1704" y="0"/>
                    <a:pt x="1722" y="19"/>
                    <a:pt x="1722" y="44"/>
                  </a:cubicBezTo>
                  <a:lnTo>
                    <a:pt x="1722" y="572"/>
                  </a:lnTo>
                  <a:lnTo>
                    <a:pt x="1630" y="572"/>
                  </a:lnTo>
                  <a:lnTo>
                    <a:pt x="1630" y="44"/>
                  </a:lnTo>
                  <a:cubicBezTo>
                    <a:pt x="1630" y="19"/>
                    <a:pt x="1647" y="0"/>
                    <a:pt x="1676" y="0"/>
                  </a:cubicBezTo>
                  <a:close/>
                </a:path>
              </a:pathLst>
            </a:custGeom>
            <a:solidFill>
              <a:srgbClr val="0D62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5816677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0" r:id="rId39"/>
    <p:sldLayoutId id="2147483741" r:id="rId40"/>
    <p:sldLayoutId id="2147483742" r:id="rId41"/>
    <p:sldLayoutId id="2147483743" r:id="rId42"/>
    <p:sldLayoutId id="2147483744" r:id="rId43"/>
    <p:sldLayoutId id="2147483745" r:id="rId44"/>
    <p:sldLayoutId id="2147483746" r:id="rId45"/>
  </p:sldLayoutIdLst>
  <p:hf hdr="0" dt="0"/>
  <p:txStyles>
    <p:titleStyle>
      <a:lvl1pPr algn="l" defTabSz="914400" rtl="0" eaLnBrk="1" latinLnBrk="0" hangingPunct="1">
        <a:lnSpc>
          <a:spcPct val="95000"/>
        </a:lnSpc>
        <a:spcBef>
          <a:spcPct val="0"/>
        </a:spcBef>
        <a:buNone/>
        <a:defRPr sz="3200" kern="1200">
          <a:solidFill>
            <a:schemeClr val="accent1"/>
          </a:solidFill>
          <a:latin typeface="+mj-lt"/>
          <a:ea typeface="+mj-ea"/>
          <a:cs typeface="+mj-cs"/>
        </a:defRPr>
      </a:lvl1pPr>
    </p:titleStyle>
    <p:bodyStyle>
      <a:lvl1pPr marL="182880" indent="-182880" algn="l" defTabSz="914400" rtl="0" eaLnBrk="1" latinLnBrk="0" hangingPunct="1">
        <a:lnSpc>
          <a:spcPct val="95000"/>
        </a:lnSpc>
        <a:spcBef>
          <a:spcPts val="1000"/>
        </a:spcBef>
        <a:buFont typeface="Arial" panose="020B0604020202020204" pitchFamily="34" charset="0"/>
        <a:buChar char="•"/>
        <a:defRPr sz="2000" kern="1200">
          <a:solidFill>
            <a:schemeClr val="tx1"/>
          </a:solidFill>
          <a:latin typeface="+mn-lt"/>
          <a:ea typeface="+mn-ea"/>
          <a:cs typeface="+mn-cs"/>
        </a:defRPr>
      </a:lvl1pPr>
      <a:lvl2pPr marL="411480" indent="-182880" algn="l" defTabSz="914400" rtl="0" eaLnBrk="1" latinLnBrk="0" hangingPunct="1">
        <a:lnSpc>
          <a:spcPct val="90000"/>
        </a:lnSpc>
        <a:spcBef>
          <a:spcPts val="500"/>
        </a:spcBef>
        <a:buFont typeface="Montserrat" panose="00000500000000000000" pitchFamily="2" charset="0"/>
        <a:buChar char="–"/>
        <a:defRPr sz="1800" kern="1200">
          <a:solidFill>
            <a:schemeClr val="tx1"/>
          </a:solidFill>
          <a:latin typeface="+mn-lt"/>
          <a:ea typeface="+mn-ea"/>
          <a:cs typeface="+mn-cs"/>
        </a:defRPr>
      </a:lvl2pPr>
      <a:lvl3pPr marL="612648" indent="-18288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822960" indent="-182880" algn="l" defTabSz="914400" rtl="0" eaLnBrk="1" latinLnBrk="0" hangingPunct="1">
        <a:lnSpc>
          <a:spcPct val="90000"/>
        </a:lnSpc>
        <a:spcBef>
          <a:spcPts val="500"/>
        </a:spcBef>
        <a:buFont typeface="Montserrat" panose="00000500000000000000" pitchFamily="2" charset="0"/>
        <a:buChar char="–"/>
        <a:defRPr sz="14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288">
          <p15:clr>
            <a:srgbClr val="A4A3A4"/>
          </p15:clr>
        </p15:guide>
        <p15:guide id="18" pos="1912">
          <p15:clr>
            <a:srgbClr val="5ACBF0"/>
          </p15:clr>
        </p15:guide>
        <p15:guide id="19" pos="2114">
          <p15:clr>
            <a:srgbClr val="5ACBF0"/>
          </p15:clr>
        </p15:guide>
        <p15:guide id="20" pos="3739">
          <p15:clr>
            <a:srgbClr val="9FCC3B"/>
          </p15:clr>
        </p15:guide>
        <p15:guide id="21" pos="3940">
          <p15:clr>
            <a:srgbClr val="9FCC3B"/>
          </p15:clr>
        </p15:guide>
        <p15:guide id="22" pos="5565">
          <p15:clr>
            <a:srgbClr val="5ACBF0"/>
          </p15:clr>
        </p15:guide>
        <p15:guide id="23" pos="5767">
          <p15:clr>
            <a:srgbClr val="5ACBF0"/>
          </p15:clr>
        </p15:guide>
        <p15:guide id="24" pos="7392">
          <p15:clr>
            <a:srgbClr val="A4A3A4"/>
          </p15:clr>
        </p15:guide>
        <p15:guide id="25" orient="horz" pos="432">
          <p15:clr>
            <a:srgbClr val="A4A3A4"/>
          </p15:clr>
        </p15:guide>
        <p15:guide id="26" orient="horz" pos="1178">
          <p15:clr>
            <a:srgbClr val="5ACBF0"/>
          </p15:clr>
        </p15:guide>
        <p15:guide id="28" orient="horz" pos="3976">
          <p15:clr>
            <a:srgbClr val="A4A3A4"/>
          </p15:clr>
        </p15:guide>
        <p15:guide id="29" orient="horz" pos="413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2257729-6F2F-472D-A628-3AC6323D6DD4}"/>
              </a:ext>
            </a:extLst>
          </p:cNvPr>
          <p:cNvSpPr>
            <a:spLocks noGrp="1"/>
          </p:cNvSpPr>
          <p:nvPr>
            <p:ph type="ftr" sz="quarter" idx="3"/>
          </p:nvPr>
        </p:nvSpPr>
        <p:spPr>
          <a:xfrm>
            <a:off x="463550" y="6427788"/>
            <a:ext cx="4114800" cy="198437"/>
          </a:xfrm>
          <a:prstGeom prst="rect">
            <a:avLst/>
          </a:prstGeom>
        </p:spPr>
        <p:txBody>
          <a:bodyPr vert="horz" lIns="0" tIns="0" rIns="0" bIns="0" rtlCol="0" anchor="ctr">
            <a:noAutofit/>
          </a:bodyPr>
          <a:lstStyle>
            <a:lvl1pPr algn="l" eaLnBrk="1" fontAlgn="auto" hangingPunct="1">
              <a:spcBef>
                <a:spcPts val="0"/>
              </a:spcBef>
              <a:spcAft>
                <a:spcPts val="0"/>
              </a:spcAft>
              <a:defRPr sz="800">
                <a:solidFill>
                  <a:schemeClr val="tx1"/>
                </a:solidFill>
                <a:latin typeface="+mn-lt"/>
              </a:defRPr>
            </a:lvl1pPr>
          </a:lstStyle>
          <a:p>
            <a:pPr>
              <a:defRPr/>
            </a:pPr>
            <a:r>
              <a:rPr lang="en-US"/>
              <a:t>© 2022 Comcast.  All rights reserved.</a:t>
            </a:r>
            <a:endParaRPr lang="en-US" dirty="0"/>
          </a:p>
        </p:txBody>
      </p:sp>
      <p:sp>
        <p:nvSpPr>
          <p:cNvPr id="6" name="Slide Number Placeholder 5">
            <a:extLst>
              <a:ext uri="{FF2B5EF4-FFF2-40B4-BE49-F238E27FC236}">
                <a16:creationId xmlns:a16="http://schemas.microsoft.com/office/drawing/2014/main" id="{F37C4A8A-5A96-4192-8D21-A29D063A18A6}"/>
              </a:ext>
            </a:extLst>
          </p:cNvPr>
          <p:cNvSpPr>
            <a:spLocks noGrp="1"/>
          </p:cNvSpPr>
          <p:nvPr>
            <p:ph type="sldNum" sz="quarter" idx="4"/>
          </p:nvPr>
        </p:nvSpPr>
        <p:spPr>
          <a:xfrm>
            <a:off x="11341100" y="6424613"/>
            <a:ext cx="393700" cy="200025"/>
          </a:xfrm>
          <a:prstGeom prst="rect">
            <a:avLst/>
          </a:prstGeom>
        </p:spPr>
        <p:txBody>
          <a:bodyPr vert="horz" lIns="0" tIns="0" rIns="0" bIns="0" rtlCol="0" anchor="ctr">
            <a:noAutofit/>
          </a:bodyPr>
          <a:lstStyle>
            <a:lvl1pPr algn="r" eaLnBrk="1" fontAlgn="auto" hangingPunct="1">
              <a:spcBef>
                <a:spcPts val="0"/>
              </a:spcBef>
              <a:spcAft>
                <a:spcPts val="0"/>
              </a:spcAft>
              <a:defRPr sz="800">
                <a:solidFill>
                  <a:schemeClr val="tx2"/>
                </a:solidFill>
                <a:latin typeface="+mn-lt"/>
              </a:defRPr>
            </a:lvl1pPr>
          </a:lstStyle>
          <a:p>
            <a:pPr>
              <a:defRPr/>
            </a:pPr>
            <a:fld id="{EE27841C-7B5C-3442-9B0A-373C471D7760}" type="slidenum">
              <a:rPr lang="en-US" smtClean="0"/>
              <a:pPr>
                <a:defRPr/>
              </a:pPr>
              <a:t>‹#›</a:t>
            </a:fld>
            <a:endParaRPr lang="en-US" dirty="0"/>
          </a:p>
        </p:txBody>
      </p:sp>
      <p:pic>
        <p:nvPicPr>
          <p:cNvPr id="2" name="Graphic 1">
            <a:extLst>
              <a:ext uri="{FF2B5EF4-FFF2-40B4-BE49-F238E27FC236}">
                <a16:creationId xmlns:a16="http://schemas.microsoft.com/office/drawing/2014/main" id="{4681B8CE-50F9-7AA5-4396-666FA8E6867B}"/>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094904" y="6343072"/>
            <a:ext cx="2099853" cy="359564"/>
          </a:xfrm>
          <a:prstGeom prst="rect">
            <a:avLst/>
          </a:prstGeom>
        </p:spPr>
      </p:pic>
    </p:spTree>
    <p:extLst>
      <p:ext uri="{BB962C8B-B14F-4D97-AF65-F5344CB8AC3E}">
        <p14:creationId xmlns:p14="http://schemas.microsoft.com/office/powerpoint/2010/main" val="359287655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Lst>
  <p:hf hdr="0" dt="0"/>
  <p:txStyles>
    <p:titleStyle>
      <a:lvl1pPr algn="l" rtl="0" eaLnBrk="1" fontAlgn="base" hangingPunct="1">
        <a:lnSpc>
          <a:spcPct val="95000"/>
        </a:lnSpc>
        <a:spcBef>
          <a:spcPct val="0"/>
        </a:spcBef>
        <a:spcAft>
          <a:spcPct val="0"/>
        </a:spcAft>
        <a:defRPr sz="3200"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2pPr>
      <a:lvl3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3pPr>
      <a:lvl4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4pPr>
      <a:lvl5pPr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5pPr>
      <a:lvl6pPr marL="4572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6pPr>
      <a:lvl7pPr marL="9144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7pPr>
      <a:lvl8pPr marL="13716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8pPr>
      <a:lvl9pPr marL="1828800" algn="l" rtl="0" eaLnBrk="1" fontAlgn="base" hangingPunct="1">
        <a:lnSpc>
          <a:spcPct val="95000"/>
        </a:lnSpc>
        <a:spcBef>
          <a:spcPct val="0"/>
        </a:spcBef>
        <a:spcAft>
          <a:spcPct val="0"/>
        </a:spcAft>
        <a:defRPr sz="3200">
          <a:solidFill>
            <a:schemeClr val="accent1"/>
          </a:solidFill>
          <a:latin typeface="Montserrat Light" panose="00000400000000000000" pitchFamily="2" charset="0"/>
        </a:defRPr>
      </a:lvl9pPr>
    </p:titleStyle>
    <p:bodyStyle>
      <a:lvl1pPr marL="182563" indent="-182563" algn="l" rtl="0" eaLnBrk="1" fontAlgn="base" hangingPunct="1">
        <a:lnSpc>
          <a:spcPct val="95000"/>
        </a:lnSpc>
        <a:spcBef>
          <a:spcPts val="1000"/>
        </a:spcBef>
        <a:spcAft>
          <a:spcPct val="0"/>
        </a:spcAft>
        <a:buFont typeface="Arial" panose="020B0604020202020204" pitchFamily="34" charset="0"/>
        <a:buChar char="•"/>
        <a:defRPr sz="2000" kern="1200">
          <a:solidFill>
            <a:schemeClr val="tx1"/>
          </a:solidFill>
          <a:latin typeface="+mn-lt"/>
          <a:ea typeface="+mn-ea"/>
          <a:cs typeface="+mn-cs"/>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emf"/><Relationship Id="rId7" Type="http://schemas.openxmlformats.org/officeDocument/2006/relationships/image" Target="../media/image26.emf"/><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1.emf"/><Relationship Id="rId2" Type="http://schemas.openxmlformats.org/officeDocument/2006/relationships/slideLayout" Target="../slideLayouts/slideLayout105.xml"/><Relationship Id="rId1" Type="http://schemas.openxmlformats.org/officeDocument/2006/relationships/tags" Target="../tags/tag1.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E1A89-B5B8-44FC-B6C9-1E4250910518}"/>
              </a:ext>
            </a:extLst>
          </p:cNvPr>
          <p:cNvSpPr>
            <a:spLocks noGrp="1"/>
          </p:cNvSpPr>
          <p:nvPr>
            <p:ph type="title"/>
          </p:nvPr>
        </p:nvSpPr>
        <p:spPr>
          <a:xfrm>
            <a:off x="194189" y="674370"/>
            <a:ext cx="6743059" cy="4043934"/>
          </a:xfrm>
        </p:spPr>
        <p:txBody>
          <a:bodyPr/>
          <a:lstStyle/>
          <a:p>
            <a:r>
              <a:rPr lang="en-US">
                <a:solidFill>
                  <a:schemeClr val="bg2"/>
                </a:solidFill>
              </a:rPr>
              <a:t>Comcast Business</a:t>
            </a:r>
            <a:br>
              <a:rPr lang="en-US">
                <a:solidFill>
                  <a:schemeClr val="bg2"/>
                </a:solidFill>
              </a:rPr>
            </a:br>
            <a:br>
              <a:rPr lang="en-US">
                <a:solidFill>
                  <a:schemeClr val="bg2"/>
                </a:solidFill>
              </a:rPr>
            </a:br>
            <a:r>
              <a:rPr lang="en-US">
                <a:solidFill>
                  <a:schemeClr val="bg2"/>
                </a:solidFill>
              </a:rPr>
              <a:t>Advanced Security</a:t>
            </a:r>
            <a:br>
              <a:rPr lang="en-US">
                <a:solidFill>
                  <a:schemeClr val="bg2"/>
                </a:solidFill>
              </a:rPr>
            </a:br>
            <a:r>
              <a:rPr lang="en-US">
                <a:solidFill>
                  <a:schemeClr val="bg2"/>
                </a:solidFill>
              </a:rPr>
              <a:t>Solutions</a:t>
            </a:r>
          </a:p>
        </p:txBody>
      </p:sp>
      <p:sp>
        <p:nvSpPr>
          <p:cNvPr id="16" name="Text Placeholder 15">
            <a:extLst>
              <a:ext uri="{FF2B5EF4-FFF2-40B4-BE49-F238E27FC236}">
                <a16:creationId xmlns:a16="http://schemas.microsoft.com/office/drawing/2014/main" id="{F214642A-E978-2099-A61E-4EDF62C2FF62}"/>
              </a:ext>
            </a:extLst>
          </p:cNvPr>
          <p:cNvSpPr>
            <a:spLocks noGrp="1"/>
          </p:cNvSpPr>
          <p:nvPr>
            <p:ph type="body" idx="1"/>
          </p:nvPr>
        </p:nvSpPr>
        <p:spPr>
          <a:xfrm>
            <a:off x="194189" y="5354976"/>
            <a:ext cx="7169779" cy="1243182"/>
          </a:xfrm>
        </p:spPr>
        <p:txBody>
          <a:bodyPr/>
          <a:lstStyle/>
          <a:p>
            <a:r>
              <a:rPr lang="en-US" sz="2800" dirty="0"/>
              <a:t>Rich Korn</a:t>
            </a:r>
          </a:p>
          <a:p>
            <a:r>
              <a:rPr lang="en-US" sz="2800" dirty="0"/>
              <a:t>Senior Security Solutions Specialist</a:t>
            </a:r>
          </a:p>
        </p:txBody>
      </p:sp>
      <p:sp>
        <p:nvSpPr>
          <p:cNvPr id="3" name="TextBox 2">
            <a:extLst>
              <a:ext uri="{FF2B5EF4-FFF2-40B4-BE49-F238E27FC236}">
                <a16:creationId xmlns:a16="http://schemas.microsoft.com/office/drawing/2014/main" id="{AF1D55E5-4B6E-061E-E6BB-D7BCEBD4A978}"/>
              </a:ext>
            </a:extLst>
          </p:cNvPr>
          <p:cNvSpPr txBox="1"/>
          <p:nvPr/>
        </p:nvSpPr>
        <p:spPr>
          <a:xfrm>
            <a:off x="2774731" y="704193"/>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 name="TextBox 5">
            <a:extLst>
              <a:ext uri="{FF2B5EF4-FFF2-40B4-BE49-F238E27FC236}">
                <a16:creationId xmlns:a16="http://schemas.microsoft.com/office/drawing/2014/main" id="{42AC9FF4-BD2F-3205-78E9-7BCBFC72EEE3}"/>
              </a:ext>
            </a:extLst>
          </p:cNvPr>
          <p:cNvSpPr txBox="1"/>
          <p:nvPr/>
        </p:nvSpPr>
        <p:spPr>
          <a:xfrm>
            <a:off x="11128443" y="5408579"/>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pic>
        <p:nvPicPr>
          <p:cNvPr id="4" name="Picture 11" descr="A picture containing graphical user interface&#10;&#10;Description automatically generated">
            <a:extLst>
              <a:ext uri="{FF2B5EF4-FFF2-40B4-BE49-F238E27FC236}">
                <a16:creationId xmlns:a16="http://schemas.microsoft.com/office/drawing/2014/main" id="{6B059437-0EB4-BFAD-50C2-8650CD95CC42}"/>
              </a:ext>
            </a:extLst>
          </p:cNvPr>
          <p:cNvPicPr>
            <a:picLocks noChangeAspect="1"/>
          </p:cNvPicPr>
          <p:nvPr/>
        </p:nvPicPr>
        <p:blipFill rotWithShape="1">
          <a:blip r:embed="rId3"/>
          <a:srcRect l="23130" r="31801" b="-1"/>
          <a:stretch/>
        </p:blipFill>
        <p:spPr>
          <a:xfrm>
            <a:off x="7063740" y="11387"/>
            <a:ext cx="5103875" cy="6873450"/>
          </a:xfrm>
          <a:custGeom>
            <a:avLst/>
            <a:gdLst>
              <a:gd name="connsiteX0" fmla="*/ 3420147 w 5025656"/>
              <a:gd name="connsiteY0" fmla="*/ 0 h 6858001"/>
              <a:gd name="connsiteX1" fmla="*/ 4791747 w 5025656"/>
              <a:gd name="connsiteY1" fmla="*/ 0 h 6858001"/>
              <a:gd name="connsiteX2" fmla="*/ 4791747 w 5025656"/>
              <a:gd name="connsiteY2" fmla="*/ 1 h 6858001"/>
              <a:gd name="connsiteX3" fmla="*/ 5025656 w 5025656"/>
              <a:gd name="connsiteY3" fmla="*/ 1 h 6858001"/>
              <a:gd name="connsiteX4" fmla="*/ 5025656 w 5025656"/>
              <a:gd name="connsiteY4" fmla="*/ 6858001 h 6858001"/>
              <a:gd name="connsiteX5" fmla="*/ 3844556 w 5025656"/>
              <a:gd name="connsiteY5" fmla="*/ 6858001 h 6858001"/>
              <a:gd name="connsiteX6" fmla="*/ 3844556 w 5025656"/>
              <a:gd name="connsiteY6" fmla="*/ 6858000 h 6858001"/>
              <a:gd name="connsiteX7" fmla="*/ 3420147 w 5025656"/>
              <a:gd name="connsiteY7" fmla="*/ 6858000 h 6858001"/>
              <a:gd name="connsiteX8" fmla="*/ 3420147 w 5025656"/>
              <a:gd name="connsiteY8" fmla="*/ 6857394 h 6858001"/>
              <a:gd name="connsiteX9" fmla="*/ 3210950 w 5025656"/>
              <a:gd name="connsiteY9" fmla="*/ 6851085 h 6858001"/>
              <a:gd name="connsiteX10" fmla="*/ 462976 w 5025656"/>
              <a:gd name="connsiteY10" fmla="*/ 5149683 h 6858001"/>
              <a:gd name="connsiteX11" fmla="*/ 457614 w 5025656"/>
              <a:gd name="connsiteY11" fmla="*/ 1717595 h 6858001"/>
              <a:gd name="connsiteX12" fmla="*/ 3200258 w 5025656"/>
              <a:gd name="connsiteY12" fmla="*/ 7617 h 6858001"/>
              <a:gd name="connsiteX13" fmla="*/ 3420147 w 5025656"/>
              <a:gd name="connsiteY13" fmla="*/ 29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5656" h="6858001">
                <a:moveTo>
                  <a:pt x="3420147" y="0"/>
                </a:moveTo>
                <a:lnTo>
                  <a:pt x="4791747" y="0"/>
                </a:lnTo>
                <a:lnTo>
                  <a:pt x="4791747" y="1"/>
                </a:lnTo>
                <a:lnTo>
                  <a:pt x="5025656" y="1"/>
                </a:lnTo>
                <a:lnTo>
                  <a:pt x="5025656" y="6858001"/>
                </a:lnTo>
                <a:lnTo>
                  <a:pt x="3844556" y="6858001"/>
                </a:lnTo>
                <a:lnTo>
                  <a:pt x="3844556" y="6858000"/>
                </a:lnTo>
                <a:lnTo>
                  <a:pt x="3420147" y="6858000"/>
                </a:lnTo>
                <a:lnTo>
                  <a:pt x="3420147" y="6857394"/>
                </a:lnTo>
                <a:lnTo>
                  <a:pt x="3210950" y="6851085"/>
                </a:lnTo>
                <a:cubicBezTo>
                  <a:pt x="2073531" y="6778796"/>
                  <a:pt x="1039896" y="6144147"/>
                  <a:pt x="462976" y="5149683"/>
                </a:cubicBezTo>
                <a:cubicBezTo>
                  <a:pt x="-152405" y="4088921"/>
                  <a:pt x="-154449" y="2780275"/>
                  <a:pt x="457614" y="1717595"/>
                </a:cubicBezTo>
                <a:cubicBezTo>
                  <a:pt x="1031423" y="721334"/>
                  <a:pt x="2063071" y="83459"/>
                  <a:pt x="3200258" y="7617"/>
                </a:cubicBezTo>
                <a:lnTo>
                  <a:pt x="3420147" y="297"/>
                </a:lnTo>
                <a:close/>
              </a:path>
            </a:pathLst>
          </a:custGeom>
          <a:noFill/>
        </p:spPr>
      </p:pic>
    </p:spTree>
    <p:extLst>
      <p:ext uri="{BB962C8B-B14F-4D97-AF65-F5344CB8AC3E}">
        <p14:creationId xmlns:p14="http://schemas.microsoft.com/office/powerpoint/2010/main" val="74055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847"/>
        <p:cNvGrpSpPr/>
        <p:nvPr/>
      </p:nvGrpSpPr>
      <p:grpSpPr>
        <a:xfrm>
          <a:off x="0" y="0"/>
          <a:ext cx="0" cy="0"/>
          <a:chOff x="0" y="0"/>
          <a:chExt cx="0" cy="0"/>
        </a:xfrm>
      </p:grpSpPr>
      <p:sp>
        <p:nvSpPr>
          <p:cNvPr id="4" name="Title 3">
            <a:extLst>
              <a:ext uri="{FF2B5EF4-FFF2-40B4-BE49-F238E27FC236}">
                <a16:creationId xmlns:a16="http://schemas.microsoft.com/office/drawing/2014/main" id="{02EBC648-F0EB-A84D-3D84-6B6EA674BC23}"/>
              </a:ext>
            </a:extLst>
          </p:cNvPr>
          <p:cNvSpPr>
            <a:spLocks noGrp="1"/>
          </p:cNvSpPr>
          <p:nvPr>
            <p:ph type="title"/>
          </p:nvPr>
        </p:nvSpPr>
        <p:spPr/>
        <p:txBody>
          <a:bodyPr/>
          <a:lstStyle/>
          <a:p>
            <a:r>
              <a:rPr lang="en-US" sz="3200" dirty="0">
                <a:latin typeface="+mj-lt"/>
              </a:rPr>
              <a:t>NIST Cybersecurity Framework</a:t>
            </a:r>
          </a:p>
        </p:txBody>
      </p:sp>
      <p:sp>
        <p:nvSpPr>
          <p:cNvPr id="1957" name="Text Placeholder 3">
            <a:extLst>
              <a:ext uri="{FF2B5EF4-FFF2-40B4-BE49-F238E27FC236}">
                <a16:creationId xmlns:a16="http://schemas.microsoft.com/office/drawing/2014/main" id="{BA80CE31-B76F-9B06-B539-39BC40718E6F}"/>
              </a:ext>
            </a:extLst>
          </p:cNvPr>
          <p:cNvSpPr txBox="1">
            <a:spLocks/>
          </p:cNvSpPr>
          <p:nvPr/>
        </p:nvSpPr>
        <p:spPr>
          <a:xfrm>
            <a:off x="463548" y="255612"/>
            <a:ext cx="11271251" cy="201168"/>
          </a:xfrm>
          <a:prstGeom prst="rect">
            <a:avLst/>
          </a:prstGeom>
        </p:spPr>
        <p:txBody>
          <a:bodyPr lIns="0" tIns="0" rIns="0" bIns="0" anchor="ctr"/>
          <a:lstStyle>
            <a:lvl1pPr marL="0" indent="0" algn="l" rtl="0" eaLnBrk="1" fontAlgn="base" hangingPunct="1">
              <a:lnSpc>
                <a:spcPct val="95000"/>
              </a:lnSpc>
              <a:spcBef>
                <a:spcPts val="1000"/>
              </a:spcBef>
              <a:spcAft>
                <a:spcPct val="0"/>
              </a:spcAft>
              <a:buFont typeface="Arial" panose="020B0604020202020204" pitchFamily="34" charset="0"/>
              <a:buNone/>
              <a:defRPr lang="en-US" sz="1000" b="0" i="0" kern="1200" cap="all" spc="200" baseline="0" dirty="0">
                <a:solidFill>
                  <a:schemeClr val="accent1"/>
                </a:solidFill>
                <a:latin typeface="Montserrat" panose="00000500000000000000" pitchFamily="2" charset="0"/>
                <a:ea typeface="Montserrat" panose="00000500000000000000" pitchFamily="2" charset="0"/>
                <a:cs typeface="Montserrat" panose="00000500000000000000" pitchFamily="2" charset="0"/>
              </a:defRPr>
            </a:lvl1pPr>
            <a:lvl2pPr marL="411163" indent="-182563" algn="l" rtl="0" eaLnBrk="1" fontAlgn="base" hangingPunct="1">
              <a:lnSpc>
                <a:spcPct val="90000"/>
              </a:lnSpc>
              <a:spcBef>
                <a:spcPts val="500"/>
              </a:spcBef>
              <a:spcAft>
                <a:spcPct val="0"/>
              </a:spcAft>
              <a:buFont typeface="Montserrat" panose="00000500000000000000" pitchFamily="2" charset="0"/>
              <a:buChar char="–"/>
              <a:defRPr kern="1200">
                <a:solidFill>
                  <a:schemeClr val="tx1"/>
                </a:solidFill>
                <a:latin typeface="+mn-lt"/>
                <a:ea typeface="+mn-ea"/>
                <a:cs typeface="+mn-cs"/>
              </a:defRPr>
            </a:lvl2pPr>
            <a:lvl3pPr marL="611188" indent="-182563"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822325" indent="-182563" algn="l" rtl="0" eaLnBrk="1" fontAlgn="base" hangingPunct="1">
              <a:lnSpc>
                <a:spcPct val="90000"/>
              </a:lnSpc>
              <a:spcBef>
                <a:spcPts val="500"/>
              </a:spcBef>
              <a:spcAft>
                <a:spcPct val="0"/>
              </a:spcAft>
              <a:buFont typeface="Montserrat" panose="00000500000000000000" pitchFamily="2" charset="0"/>
              <a:buChar char="–"/>
              <a:defRPr sz="1400" kern="1200">
                <a:solidFill>
                  <a:schemeClr val="tx1"/>
                </a:solidFill>
                <a:latin typeface="+mn-lt"/>
                <a:ea typeface="+mn-ea"/>
                <a:cs typeface="+mn-cs"/>
              </a:defRPr>
            </a:lvl4pPr>
            <a:lvl5pPr algn="l" rtl="0" eaLnBrk="1" fontAlgn="base" hangingPunct="1">
              <a:lnSpc>
                <a:spcPct val="90000"/>
              </a:lnSpc>
              <a:spcBef>
                <a:spcPts val="500"/>
              </a:spcBef>
              <a:spcAft>
                <a:spcPct val="0"/>
              </a:spcAft>
              <a:buFont typeface="Arial" panose="020B0604020202020204" pitchFamily="34" charset="0"/>
              <a:defRPr sz="12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5000"/>
              </a:lnSpc>
              <a:spcBef>
                <a:spcPts val="1000"/>
              </a:spcBef>
              <a:spcAft>
                <a:spcPct val="0"/>
              </a:spcAft>
              <a:buClrTx/>
              <a:buSzTx/>
              <a:buFont typeface="Arial" panose="020B0604020202020204" pitchFamily="34" charset="0"/>
              <a:buNone/>
              <a:tabLst/>
              <a:defRPr/>
            </a:pPr>
            <a:r>
              <a:rPr kumimoji="0" lang="en-US" sz="1000" b="0" i="0" u="none" strike="noStrike" kern="1200" cap="all" spc="200" normalizeH="0" baseline="0" noProof="0" dirty="0">
                <a:ln>
                  <a:noFill/>
                </a:ln>
                <a:solidFill>
                  <a:srgbClr val="0B61FF"/>
                </a:solidFill>
                <a:effectLst/>
                <a:uLnTx/>
                <a:uFillTx/>
                <a:latin typeface="Montserrat" panose="00000500000000000000" pitchFamily="2" charset="0"/>
              </a:rPr>
              <a:t>Comcast Business Cybersecurity</a:t>
            </a:r>
          </a:p>
        </p:txBody>
      </p:sp>
      <p:sp>
        <p:nvSpPr>
          <p:cNvPr id="1960" name="TextBox 1959">
            <a:extLst>
              <a:ext uri="{FF2B5EF4-FFF2-40B4-BE49-F238E27FC236}">
                <a16:creationId xmlns:a16="http://schemas.microsoft.com/office/drawing/2014/main" id="{37AA85E6-2A18-0A8A-3823-9090177D1178}"/>
              </a:ext>
            </a:extLst>
          </p:cNvPr>
          <p:cNvSpPr txBox="1"/>
          <p:nvPr/>
        </p:nvSpPr>
        <p:spPr>
          <a:xfrm>
            <a:off x="-2852530" y="-1103243"/>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Montserrat"/>
              <a:ea typeface="+mn-ea"/>
              <a:cs typeface="+mn-cs"/>
            </a:endParaRPr>
          </a:p>
        </p:txBody>
      </p:sp>
      <p:pic>
        <p:nvPicPr>
          <p:cNvPr id="5" name="Content Placeholder 7" descr="NIST Cybersecurity Framework 2.0 : What's New and How It Compares to Zero  Trust">
            <a:extLst>
              <a:ext uri="{FF2B5EF4-FFF2-40B4-BE49-F238E27FC236}">
                <a16:creationId xmlns:a16="http://schemas.microsoft.com/office/drawing/2014/main" id="{D8249C0F-2D16-8ACB-F22D-ADDDDD106B1D}"/>
              </a:ext>
            </a:extLst>
          </p:cNvPr>
          <p:cNvPicPr>
            <a:picLocks noChangeAspect="1"/>
          </p:cNvPicPr>
          <p:nvPr/>
        </p:nvPicPr>
        <p:blipFill rotWithShape="1">
          <a:blip r:embed="rId3">
            <a:extLst>
              <a:ext uri="{28A0092B-C50C-407E-A947-70E740481C1C}">
                <a14:useLocalDpi xmlns:a14="http://schemas.microsoft.com/office/drawing/2010/main" val="0"/>
              </a:ext>
            </a:extLst>
          </a:blip>
          <a:srcRect l="1972" t="4841" r="56051" b="4223"/>
          <a:stretch/>
        </p:blipFill>
        <p:spPr bwMode="auto">
          <a:xfrm>
            <a:off x="1579177" y="1508760"/>
            <a:ext cx="4156846" cy="482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53640926-AAD7-44D8-BBD7-CCE9431645EC}">
              <a14:shadowObscured xmlns:a14="http://schemas.microsoft.com/office/drawing/2010/main"/>
            </a:ext>
          </a:extLst>
        </p:spPr>
      </p:pic>
      <p:pic>
        <p:nvPicPr>
          <p:cNvPr id="6" name="Content Placeholder 8" descr="NIST Cybersecurity Framework 2.0 : What's New and How It Compares to Zero  Trust">
            <a:extLst>
              <a:ext uri="{FF2B5EF4-FFF2-40B4-BE49-F238E27FC236}">
                <a16:creationId xmlns:a16="http://schemas.microsoft.com/office/drawing/2014/main" id="{41E770A0-4CD7-DB53-ABF8-8BA803D6DE23}"/>
              </a:ext>
            </a:extLst>
          </p:cNvPr>
          <p:cNvPicPr>
            <a:picLocks noChangeAspect="1"/>
          </p:cNvPicPr>
          <p:nvPr/>
        </p:nvPicPr>
        <p:blipFill rotWithShape="1">
          <a:blip r:embed="rId3">
            <a:extLst>
              <a:ext uri="{28A0092B-C50C-407E-A947-70E740481C1C}">
                <a14:useLocalDpi xmlns:a14="http://schemas.microsoft.com/office/drawing/2010/main" val="0"/>
              </a:ext>
            </a:extLst>
          </a:blip>
          <a:srcRect l="57378" t="7591" b="7811"/>
          <a:stretch/>
        </p:blipFill>
        <p:spPr bwMode="auto">
          <a:xfrm>
            <a:off x="6669732" y="1527536"/>
            <a:ext cx="4456631" cy="473904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916777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2DD84FF-D243-A35C-8326-7C82FB38AC94}"/>
              </a:ext>
            </a:extLst>
          </p:cNvPr>
          <p:cNvSpPr/>
          <p:nvPr/>
        </p:nvSpPr>
        <p:spPr>
          <a:xfrm>
            <a:off x="-1509" y="1961843"/>
            <a:ext cx="12186735" cy="2459786"/>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5EA86819-7887-9BA9-C6C2-0A36E6BCFED8}"/>
              </a:ext>
            </a:extLst>
          </p:cNvPr>
          <p:cNvSpPr>
            <a:spLocks noGrp="1"/>
          </p:cNvSpPr>
          <p:nvPr>
            <p:ph type="body" sz="quarter" idx="25"/>
          </p:nvPr>
        </p:nvSpPr>
        <p:spPr/>
        <p:txBody>
          <a:bodyPr/>
          <a:lstStyle/>
          <a:p>
            <a:r>
              <a:rPr lang="en-US" dirty="0"/>
              <a:t>Comcast Business Cybersecurity</a:t>
            </a:r>
          </a:p>
        </p:txBody>
      </p:sp>
      <p:sp>
        <p:nvSpPr>
          <p:cNvPr id="8" name="TextBox 7">
            <a:extLst>
              <a:ext uri="{FF2B5EF4-FFF2-40B4-BE49-F238E27FC236}">
                <a16:creationId xmlns:a16="http://schemas.microsoft.com/office/drawing/2014/main" id="{3EA73C47-8FFD-3413-4787-8A48E64F0768}"/>
              </a:ext>
            </a:extLst>
          </p:cNvPr>
          <p:cNvSpPr txBox="1"/>
          <p:nvPr/>
        </p:nvSpPr>
        <p:spPr>
          <a:xfrm>
            <a:off x="757901" y="704147"/>
            <a:ext cx="11153686" cy="470491"/>
          </a:xfrm>
          <a:prstGeom prst="roundRect">
            <a:avLst>
              <a:gd name="adj" fmla="val 50000"/>
            </a:avLst>
          </a:prstGeom>
          <a:solidFill>
            <a:schemeClr val="accent1"/>
          </a:solidFill>
        </p:spPr>
        <p:txBody>
          <a:bodyPr wrap="square" lIns="731520" tIns="0" rIns="0" bIns="0" rtlCol="0" anchor="ctr">
            <a:noAutofit/>
          </a:bodyPr>
          <a:lstStyle/>
          <a:p>
            <a:pPr algn="ctr"/>
            <a:r>
              <a:rPr lang="en-US" sz="2400" b="1" dirty="0">
                <a:solidFill>
                  <a:schemeClr val="bg2"/>
                </a:solidFill>
              </a:rPr>
              <a:t>Comcast Business Managed Security Services</a:t>
            </a:r>
          </a:p>
        </p:txBody>
      </p:sp>
      <p:grpSp>
        <p:nvGrpSpPr>
          <p:cNvPr id="81" name="Group 80">
            <a:extLst>
              <a:ext uri="{FF2B5EF4-FFF2-40B4-BE49-F238E27FC236}">
                <a16:creationId xmlns:a16="http://schemas.microsoft.com/office/drawing/2014/main" id="{12A8970B-8203-7E94-ACAE-59695FEFB91A}"/>
              </a:ext>
            </a:extLst>
          </p:cNvPr>
          <p:cNvGrpSpPr/>
          <p:nvPr/>
        </p:nvGrpSpPr>
        <p:grpSpPr>
          <a:xfrm>
            <a:off x="3922063" y="1381197"/>
            <a:ext cx="3648769" cy="4562850"/>
            <a:chOff x="148432" y="1717131"/>
            <a:chExt cx="3409137" cy="4562850"/>
          </a:xfrm>
        </p:grpSpPr>
        <p:sp>
          <p:nvSpPr>
            <p:cNvPr id="30" name="Rounded Rectangle 29">
              <a:extLst>
                <a:ext uri="{FF2B5EF4-FFF2-40B4-BE49-F238E27FC236}">
                  <a16:creationId xmlns:a16="http://schemas.microsoft.com/office/drawing/2014/main" id="{B7C43F68-EE77-AC9B-C9A3-90202E9AD9B0}"/>
                </a:ext>
              </a:extLst>
            </p:cNvPr>
            <p:cNvSpPr/>
            <p:nvPr/>
          </p:nvSpPr>
          <p:spPr>
            <a:xfrm>
              <a:off x="156814" y="2345827"/>
              <a:ext cx="3400752" cy="2250695"/>
            </a:xfrm>
            <a:prstGeom prst="roundRect">
              <a:avLst>
                <a:gd name="adj" fmla="val 4979"/>
              </a:avLst>
            </a:prstGeom>
            <a:solidFill>
              <a:schemeClr val="accent2">
                <a:lumMod val="20000"/>
                <a:lumOff val="80000"/>
                <a:alpha val="50000"/>
              </a:schemeClr>
            </a:solidFill>
            <a:ln w="2222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C5E34754-7E78-C361-1680-A6CFA113B05C}"/>
                </a:ext>
              </a:extLst>
            </p:cNvPr>
            <p:cNvCxnSpPr>
              <a:cxnSpLocks/>
            </p:cNvCxnSpPr>
            <p:nvPr/>
          </p:nvCxnSpPr>
          <p:spPr>
            <a:xfrm>
              <a:off x="2469179" y="2426835"/>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843E17B2-1067-62F7-3D04-19C44635E825}"/>
                </a:ext>
              </a:extLst>
            </p:cNvPr>
            <p:cNvGrpSpPr/>
            <p:nvPr/>
          </p:nvGrpSpPr>
          <p:grpSpPr>
            <a:xfrm>
              <a:off x="148432" y="2807591"/>
              <a:ext cx="1136440" cy="1633207"/>
              <a:chOff x="6123204" y="2495804"/>
              <a:chExt cx="1136440" cy="1633207"/>
            </a:xfrm>
          </p:grpSpPr>
          <p:sp>
            <p:nvSpPr>
              <p:cNvPr id="11" name="TextBox 10">
                <a:extLst>
                  <a:ext uri="{FF2B5EF4-FFF2-40B4-BE49-F238E27FC236}">
                    <a16:creationId xmlns:a16="http://schemas.microsoft.com/office/drawing/2014/main" id="{BE29CE09-338C-2944-0D60-96B93ED50DBC}"/>
                  </a:ext>
                </a:extLst>
              </p:cNvPr>
              <p:cNvSpPr txBox="1"/>
              <p:nvPr/>
            </p:nvSpPr>
            <p:spPr>
              <a:xfrm>
                <a:off x="6123204" y="3258051"/>
                <a:ext cx="1136440" cy="870960"/>
              </a:xfrm>
              <a:prstGeom prst="rect">
                <a:avLst/>
              </a:prstGeom>
              <a:noFill/>
            </p:spPr>
            <p:txBody>
              <a:bodyPr wrap="square" lIns="0" tIns="0" rIns="0" bIns="0" rtlCol="0" anchor="t">
                <a:noAutofit/>
              </a:bodyPr>
              <a:lstStyle/>
              <a:p>
                <a:pPr algn="ctr"/>
                <a:r>
                  <a:rPr lang="en-US" sz="1200" dirty="0">
                    <a:solidFill>
                      <a:schemeClr val="accent1"/>
                    </a:solidFill>
                  </a:rPr>
                  <a:t>Laptops, desktops, and servers</a:t>
                </a:r>
              </a:p>
            </p:txBody>
          </p:sp>
          <p:pic>
            <p:nvPicPr>
              <p:cNvPr id="37" name="Picture 36">
                <a:extLst>
                  <a:ext uri="{FF2B5EF4-FFF2-40B4-BE49-F238E27FC236}">
                    <a16:creationId xmlns:a16="http://schemas.microsoft.com/office/drawing/2014/main" id="{5FFFDC14-F5D8-0FAB-59F2-6D022E55E374}"/>
                  </a:ext>
                </a:extLst>
              </p:cNvPr>
              <p:cNvPicPr>
                <a:picLocks noChangeAspect="1"/>
              </p:cNvPicPr>
              <p:nvPr/>
            </p:nvPicPr>
            <p:blipFill>
              <a:blip r:embed="rId3"/>
              <a:stretch>
                <a:fillRect/>
              </a:stretch>
            </p:blipFill>
            <p:spPr>
              <a:xfrm>
                <a:off x="6417354" y="2495804"/>
                <a:ext cx="570580" cy="635000"/>
              </a:xfrm>
              <a:prstGeom prst="rect">
                <a:avLst/>
              </a:prstGeom>
            </p:spPr>
          </p:pic>
        </p:grpSp>
        <p:grpSp>
          <p:nvGrpSpPr>
            <p:cNvPr id="50" name="Group 49">
              <a:extLst>
                <a:ext uri="{FF2B5EF4-FFF2-40B4-BE49-F238E27FC236}">
                  <a16:creationId xmlns:a16="http://schemas.microsoft.com/office/drawing/2014/main" id="{01BDF54C-8C18-7D07-4986-E8A75474C102}"/>
                </a:ext>
              </a:extLst>
            </p:cNvPr>
            <p:cNvGrpSpPr/>
            <p:nvPr/>
          </p:nvGrpSpPr>
          <p:grpSpPr>
            <a:xfrm>
              <a:off x="2487752" y="2966963"/>
              <a:ext cx="996718" cy="1512133"/>
              <a:chOff x="8462524" y="2655176"/>
              <a:chExt cx="996718" cy="1512133"/>
            </a:xfrm>
          </p:grpSpPr>
          <p:sp>
            <p:nvSpPr>
              <p:cNvPr id="14" name="TextBox 13">
                <a:extLst>
                  <a:ext uri="{FF2B5EF4-FFF2-40B4-BE49-F238E27FC236}">
                    <a16:creationId xmlns:a16="http://schemas.microsoft.com/office/drawing/2014/main" id="{A0E299A0-CCD8-ABF8-E495-2893590160AD}"/>
                  </a:ext>
                </a:extLst>
              </p:cNvPr>
              <p:cNvSpPr txBox="1"/>
              <p:nvPr/>
            </p:nvSpPr>
            <p:spPr>
              <a:xfrm>
                <a:off x="8462524" y="3301123"/>
                <a:ext cx="996718" cy="866186"/>
              </a:xfrm>
              <a:prstGeom prst="rect">
                <a:avLst/>
              </a:prstGeom>
              <a:noFill/>
            </p:spPr>
            <p:txBody>
              <a:bodyPr wrap="square" lIns="0" tIns="0" rIns="0" bIns="0" rtlCol="0" anchor="t">
                <a:noAutofit/>
              </a:bodyPr>
              <a:lstStyle/>
              <a:p>
                <a:pPr algn="ctr"/>
                <a:r>
                  <a:rPr lang="en-US" sz="1200" dirty="0">
                    <a:solidFill>
                      <a:schemeClr val="accent1"/>
                    </a:solidFill>
                  </a:rPr>
                  <a:t>Device Security</a:t>
                </a:r>
              </a:p>
              <a:p>
                <a:pPr algn="ctr"/>
                <a:r>
                  <a:rPr lang="en-US" sz="1200" dirty="0">
                    <a:solidFill>
                      <a:schemeClr val="accent1"/>
                    </a:solidFill>
                  </a:rPr>
                  <a:t>24/7 Detect and Respond</a:t>
                </a:r>
                <a:endParaRPr lang="en-US" sz="1200" dirty="0">
                  <a:solidFill>
                    <a:schemeClr val="tx2"/>
                  </a:solidFill>
                </a:endParaRPr>
              </a:p>
            </p:txBody>
          </p:sp>
          <p:pic>
            <p:nvPicPr>
              <p:cNvPr id="40" name="Picture 39">
                <a:extLst>
                  <a:ext uri="{FF2B5EF4-FFF2-40B4-BE49-F238E27FC236}">
                    <a16:creationId xmlns:a16="http://schemas.microsoft.com/office/drawing/2014/main" id="{E1DE4A30-E3A9-8FBF-1CB6-135CDED6171C}"/>
                  </a:ext>
                </a:extLst>
              </p:cNvPr>
              <p:cNvPicPr>
                <a:picLocks noChangeAspect="1"/>
              </p:cNvPicPr>
              <p:nvPr/>
            </p:nvPicPr>
            <p:blipFill>
              <a:blip r:embed="rId4"/>
              <a:stretch>
                <a:fillRect/>
              </a:stretch>
            </p:blipFill>
            <p:spPr>
              <a:xfrm>
                <a:off x="8758227" y="2655176"/>
                <a:ext cx="381045" cy="470703"/>
              </a:xfrm>
              <a:prstGeom prst="rect">
                <a:avLst/>
              </a:prstGeom>
            </p:spPr>
          </p:pic>
        </p:grpSp>
        <p:sp>
          <p:nvSpPr>
            <p:cNvPr id="12" name="TextBox 11">
              <a:extLst>
                <a:ext uri="{FF2B5EF4-FFF2-40B4-BE49-F238E27FC236}">
                  <a16:creationId xmlns:a16="http://schemas.microsoft.com/office/drawing/2014/main" id="{67A8ED8A-D741-FC70-FF54-205FD0D7EDD0}"/>
                </a:ext>
              </a:extLst>
            </p:cNvPr>
            <p:cNvSpPr txBox="1"/>
            <p:nvPr/>
          </p:nvSpPr>
          <p:spPr>
            <a:xfrm>
              <a:off x="1303675" y="3590478"/>
              <a:ext cx="1167661" cy="715236"/>
            </a:xfrm>
            <a:prstGeom prst="rect">
              <a:avLst/>
            </a:prstGeom>
            <a:noFill/>
          </p:spPr>
          <p:txBody>
            <a:bodyPr wrap="square" lIns="0" tIns="0" rIns="0" bIns="0" rtlCol="0" anchor="t">
              <a:noAutofit/>
            </a:bodyPr>
            <a:lstStyle/>
            <a:p>
              <a:pPr algn="ctr"/>
              <a:r>
                <a:rPr lang="en-US" sz="1200" dirty="0">
                  <a:solidFill>
                    <a:schemeClr val="accent1"/>
                  </a:solidFill>
                </a:rPr>
                <a:t>Malware and Ransomware Prevention</a:t>
              </a:r>
            </a:p>
          </p:txBody>
        </p:sp>
        <p:cxnSp>
          <p:nvCxnSpPr>
            <p:cNvPr id="52" name="Straight Connector 51">
              <a:extLst>
                <a:ext uri="{FF2B5EF4-FFF2-40B4-BE49-F238E27FC236}">
                  <a16:creationId xmlns:a16="http://schemas.microsoft.com/office/drawing/2014/main" id="{115CA9EC-5EE9-5304-1B3A-8454DA8595CB}"/>
                </a:ext>
              </a:extLst>
            </p:cNvPr>
            <p:cNvCxnSpPr>
              <a:cxnSpLocks/>
            </p:cNvCxnSpPr>
            <p:nvPr/>
          </p:nvCxnSpPr>
          <p:spPr>
            <a:xfrm>
              <a:off x="1289677" y="2416444"/>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71EE1D71-5A85-E61B-803D-1A486E3CAD34}"/>
                </a:ext>
              </a:extLst>
            </p:cNvPr>
            <p:cNvPicPr>
              <a:picLocks noChangeAspect="1"/>
            </p:cNvPicPr>
            <p:nvPr/>
          </p:nvPicPr>
          <p:blipFill>
            <a:blip r:embed="rId5"/>
            <a:stretch>
              <a:fillRect/>
            </a:stretch>
          </p:blipFill>
          <p:spPr>
            <a:xfrm>
              <a:off x="1633717" y="2990857"/>
              <a:ext cx="506420" cy="420109"/>
            </a:xfrm>
            <a:prstGeom prst="rect">
              <a:avLst/>
            </a:prstGeom>
          </p:spPr>
        </p:pic>
        <p:grpSp>
          <p:nvGrpSpPr>
            <p:cNvPr id="5" name="Group 4">
              <a:extLst>
                <a:ext uri="{FF2B5EF4-FFF2-40B4-BE49-F238E27FC236}">
                  <a16:creationId xmlns:a16="http://schemas.microsoft.com/office/drawing/2014/main" id="{A05B0FC0-8390-6288-8203-1BC9A3172023}"/>
                </a:ext>
              </a:extLst>
            </p:cNvPr>
            <p:cNvGrpSpPr/>
            <p:nvPr/>
          </p:nvGrpSpPr>
          <p:grpSpPr>
            <a:xfrm>
              <a:off x="156815" y="1717131"/>
              <a:ext cx="3400754" cy="594645"/>
              <a:chOff x="6600771" y="1263479"/>
              <a:chExt cx="2698345" cy="594645"/>
            </a:xfrm>
          </p:grpSpPr>
          <p:sp>
            <p:nvSpPr>
              <p:cNvPr id="6" name="TextBox 5">
                <a:extLst>
                  <a:ext uri="{FF2B5EF4-FFF2-40B4-BE49-F238E27FC236}">
                    <a16:creationId xmlns:a16="http://schemas.microsoft.com/office/drawing/2014/main" id="{371225E4-77B4-E85C-3FD1-5088413787D4}"/>
                  </a:ext>
                </a:extLst>
              </p:cNvPr>
              <p:cNvSpPr txBox="1"/>
              <p:nvPr/>
            </p:nvSpPr>
            <p:spPr>
              <a:xfrm>
                <a:off x="6600771" y="1263479"/>
                <a:ext cx="2698345" cy="507132"/>
              </a:xfrm>
              <a:prstGeom prst="roundRect">
                <a:avLst>
                  <a:gd name="adj" fmla="val 50000"/>
                </a:avLst>
              </a:prstGeom>
              <a:solidFill>
                <a:schemeClr val="tx2"/>
              </a:solidFill>
            </p:spPr>
            <p:txBody>
              <a:bodyPr wrap="square" lIns="0" tIns="0" rIns="0" bIns="0" rtlCol="0" anchor="ctr">
                <a:noAutofit/>
              </a:bodyPr>
              <a:lstStyle/>
              <a:p>
                <a:pPr algn="ctr"/>
                <a:r>
                  <a:rPr lang="en-US" sz="1400" dirty="0">
                    <a:solidFill>
                      <a:schemeClr val="bg2"/>
                    </a:solidFill>
                  </a:rPr>
                  <a:t>Endpoint Detection and Response</a:t>
                </a:r>
              </a:p>
              <a:p>
                <a:pPr algn="ctr"/>
                <a:r>
                  <a:rPr lang="en-US" sz="1400" b="1" dirty="0">
                    <a:solidFill>
                      <a:schemeClr val="bg2"/>
                    </a:solidFill>
                  </a:rPr>
                  <a:t>EDR</a:t>
                </a:r>
              </a:p>
            </p:txBody>
          </p:sp>
          <p:sp>
            <p:nvSpPr>
              <p:cNvPr id="7" name="Triangle 6">
                <a:extLst>
                  <a:ext uri="{FF2B5EF4-FFF2-40B4-BE49-F238E27FC236}">
                    <a16:creationId xmlns:a16="http://schemas.microsoft.com/office/drawing/2014/main" id="{541A8B94-A464-AE0F-3E01-AEC0F57F2A26}"/>
                  </a:ext>
                </a:extLst>
              </p:cNvPr>
              <p:cNvSpPr/>
              <p:nvPr/>
            </p:nvSpPr>
            <p:spPr>
              <a:xfrm rot="10800000">
                <a:off x="7803399" y="1729046"/>
                <a:ext cx="299461" cy="129078"/>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5B34D01D-C32C-25BC-C642-9C992D8CA95A}"/>
                </a:ext>
              </a:extLst>
            </p:cNvPr>
            <p:cNvSpPr txBox="1"/>
            <p:nvPr/>
          </p:nvSpPr>
          <p:spPr>
            <a:xfrm>
              <a:off x="323117" y="5013449"/>
              <a:ext cx="2994206" cy="1266532"/>
            </a:xfrm>
            <a:prstGeom prst="roundRect">
              <a:avLst>
                <a:gd name="adj" fmla="val 0"/>
              </a:avLst>
            </a:prstGeom>
            <a:noFill/>
          </p:spPr>
          <p:txBody>
            <a:bodyPr wrap="square" lIns="0" tIns="0" rIns="0" bIns="0" rtlCol="0" anchor="ctr">
              <a:noAutofit/>
            </a:bodyPr>
            <a:lstStyle/>
            <a:p>
              <a:pPr algn="ctr"/>
              <a:r>
                <a:rPr lang="en-US" sz="1400" b="1" dirty="0">
                  <a:solidFill>
                    <a:schemeClr val="tx2"/>
                  </a:solidFill>
                </a:rPr>
                <a:t>DETECT &amp; MINIMIZE IMPACT</a:t>
              </a:r>
            </a:p>
            <a:p>
              <a:pPr algn="ctr"/>
              <a:endParaRPr lang="en-US" sz="1400" b="1" dirty="0">
                <a:solidFill>
                  <a:schemeClr val="tx2"/>
                </a:solidFill>
              </a:endParaRPr>
            </a:p>
            <a:p>
              <a:pPr algn="ctr"/>
              <a:r>
                <a:rPr lang="en-US" sz="1400" dirty="0">
                  <a:solidFill>
                    <a:schemeClr val="tx2"/>
                  </a:solidFill>
                </a:rPr>
                <a:t>Next-gen endpoint threat detection and response capabilities for users  and server assets</a:t>
              </a:r>
            </a:p>
          </p:txBody>
        </p:sp>
        <p:sp>
          <p:nvSpPr>
            <p:cNvPr id="19" name="Left Brace 18">
              <a:extLst>
                <a:ext uri="{FF2B5EF4-FFF2-40B4-BE49-F238E27FC236}">
                  <a16:creationId xmlns:a16="http://schemas.microsoft.com/office/drawing/2014/main" id="{CE01E396-F402-3D13-D89A-E9A72CE52F77}"/>
                </a:ext>
              </a:extLst>
            </p:cNvPr>
            <p:cNvSpPr/>
            <p:nvPr/>
          </p:nvSpPr>
          <p:spPr>
            <a:xfrm rot="16200000">
              <a:off x="1685145" y="3532457"/>
              <a:ext cx="263139" cy="2615701"/>
            </a:xfrm>
            <a:prstGeom prst="leftBrace">
              <a:avLst>
                <a:gd name="adj1" fmla="val 62588"/>
                <a:gd name="adj2" fmla="val 50000"/>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Group 59">
            <a:extLst>
              <a:ext uri="{FF2B5EF4-FFF2-40B4-BE49-F238E27FC236}">
                <a16:creationId xmlns:a16="http://schemas.microsoft.com/office/drawing/2014/main" id="{D633A44C-892D-BDA5-E066-5C06CF810B1C}"/>
              </a:ext>
            </a:extLst>
          </p:cNvPr>
          <p:cNvGrpSpPr/>
          <p:nvPr/>
        </p:nvGrpSpPr>
        <p:grpSpPr>
          <a:xfrm>
            <a:off x="205246" y="1381198"/>
            <a:ext cx="3312593" cy="4552910"/>
            <a:chOff x="6495887" y="2009629"/>
            <a:chExt cx="3071285" cy="4552910"/>
          </a:xfrm>
        </p:grpSpPr>
        <p:sp>
          <p:nvSpPr>
            <p:cNvPr id="61" name="Rounded Rectangle 29">
              <a:extLst>
                <a:ext uri="{FF2B5EF4-FFF2-40B4-BE49-F238E27FC236}">
                  <a16:creationId xmlns:a16="http://schemas.microsoft.com/office/drawing/2014/main" id="{AB2C9668-262C-106E-F32D-88E019D258B3}"/>
                </a:ext>
              </a:extLst>
            </p:cNvPr>
            <p:cNvSpPr/>
            <p:nvPr/>
          </p:nvSpPr>
          <p:spPr>
            <a:xfrm>
              <a:off x="6495887" y="2643525"/>
              <a:ext cx="3071285" cy="2250695"/>
            </a:xfrm>
            <a:prstGeom prst="roundRect">
              <a:avLst>
                <a:gd name="adj" fmla="val 4979"/>
              </a:avLst>
            </a:prstGeom>
            <a:solidFill>
              <a:schemeClr val="accent2">
                <a:lumMod val="20000"/>
                <a:lumOff val="80000"/>
                <a:alpha val="50000"/>
              </a:schemeClr>
            </a:solidFill>
            <a:ln w="22225">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C4576EA7-5ABE-BF24-296A-F1138552E166}"/>
                </a:ext>
              </a:extLst>
            </p:cNvPr>
            <p:cNvCxnSpPr>
              <a:cxnSpLocks/>
            </p:cNvCxnSpPr>
            <p:nvPr/>
          </p:nvCxnSpPr>
          <p:spPr>
            <a:xfrm>
              <a:off x="8559020" y="2698550"/>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A966E505-C11C-D7E2-9D98-F7211280D8BB}"/>
                </a:ext>
              </a:extLst>
            </p:cNvPr>
            <p:cNvGrpSpPr/>
            <p:nvPr/>
          </p:nvGrpSpPr>
          <p:grpSpPr>
            <a:xfrm>
              <a:off x="6509511" y="3108209"/>
              <a:ext cx="904393" cy="1427978"/>
              <a:chOff x="6509511" y="2524707"/>
              <a:chExt cx="904393" cy="1427978"/>
            </a:xfrm>
          </p:grpSpPr>
          <p:sp>
            <p:nvSpPr>
              <p:cNvPr id="75" name="TextBox 74">
                <a:extLst>
                  <a:ext uri="{FF2B5EF4-FFF2-40B4-BE49-F238E27FC236}">
                    <a16:creationId xmlns:a16="http://schemas.microsoft.com/office/drawing/2014/main" id="{0BC2CF99-07FF-0722-90CA-1FB8DE67DB81}"/>
                  </a:ext>
                </a:extLst>
              </p:cNvPr>
              <p:cNvSpPr txBox="1"/>
              <p:nvPr/>
            </p:nvSpPr>
            <p:spPr>
              <a:xfrm>
                <a:off x="6509511" y="3317685"/>
                <a:ext cx="904393" cy="635000"/>
              </a:xfrm>
              <a:prstGeom prst="rect">
                <a:avLst/>
              </a:prstGeom>
              <a:noFill/>
            </p:spPr>
            <p:txBody>
              <a:bodyPr wrap="square" lIns="0" tIns="0" rIns="0" bIns="0" rtlCol="0" anchor="t">
                <a:noAutofit/>
              </a:bodyPr>
              <a:lstStyle/>
              <a:p>
                <a:pPr algn="ctr"/>
                <a:r>
                  <a:rPr lang="en-US" sz="1200" dirty="0">
                    <a:solidFill>
                      <a:schemeClr val="accent1"/>
                    </a:solidFill>
                  </a:rPr>
                  <a:t>Fortinet Edge </a:t>
                </a:r>
              </a:p>
              <a:p>
                <a:pPr algn="ctr"/>
                <a:r>
                  <a:rPr lang="en-US" sz="1200" dirty="0">
                    <a:solidFill>
                      <a:schemeClr val="accent1"/>
                    </a:solidFill>
                  </a:rPr>
                  <a:t>Devices</a:t>
                </a:r>
              </a:p>
            </p:txBody>
          </p:sp>
          <p:pic>
            <p:nvPicPr>
              <p:cNvPr id="76" name="Picture 75">
                <a:extLst>
                  <a:ext uri="{FF2B5EF4-FFF2-40B4-BE49-F238E27FC236}">
                    <a16:creationId xmlns:a16="http://schemas.microsoft.com/office/drawing/2014/main" id="{C9234206-5B53-8F1A-BB0D-21F6E2BFCBA1}"/>
                  </a:ext>
                </a:extLst>
              </p:cNvPr>
              <p:cNvPicPr>
                <a:picLocks noChangeAspect="1"/>
              </p:cNvPicPr>
              <p:nvPr/>
            </p:nvPicPr>
            <p:blipFill>
              <a:blip r:embed="rId3"/>
              <a:stretch>
                <a:fillRect/>
              </a:stretch>
            </p:blipFill>
            <p:spPr>
              <a:xfrm>
                <a:off x="6693036" y="2524707"/>
                <a:ext cx="570580" cy="635000"/>
              </a:xfrm>
              <a:prstGeom prst="rect">
                <a:avLst/>
              </a:prstGeom>
            </p:spPr>
          </p:pic>
        </p:grpSp>
        <p:grpSp>
          <p:nvGrpSpPr>
            <p:cNvPr id="64" name="Group 63">
              <a:extLst>
                <a:ext uri="{FF2B5EF4-FFF2-40B4-BE49-F238E27FC236}">
                  <a16:creationId xmlns:a16="http://schemas.microsoft.com/office/drawing/2014/main" id="{373D1C5D-993B-736B-D51F-50437660A5DD}"/>
                </a:ext>
              </a:extLst>
            </p:cNvPr>
            <p:cNvGrpSpPr/>
            <p:nvPr/>
          </p:nvGrpSpPr>
          <p:grpSpPr>
            <a:xfrm>
              <a:off x="8634384" y="3271456"/>
              <a:ext cx="888103" cy="1535521"/>
              <a:chOff x="8634384" y="2687954"/>
              <a:chExt cx="888103" cy="1535521"/>
            </a:xfrm>
          </p:grpSpPr>
          <p:sp>
            <p:nvSpPr>
              <p:cNvPr id="73" name="TextBox 72">
                <a:extLst>
                  <a:ext uri="{FF2B5EF4-FFF2-40B4-BE49-F238E27FC236}">
                    <a16:creationId xmlns:a16="http://schemas.microsoft.com/office/drawing/2014/main" id="{F7ED9C65-F8C4-9430-5FB2-479237B1887E}"/>
                  </a:ext>
                </a:extLst>
              </p:cNvPr>
              <p:cNvSpPr txBox="1"/>
              <p:nvPr/>
            </p:nvSpPr>
            <p:spPr>
              <a:xfrm>
                <a:off x="8634384" y="3357289"/>
                <a:ext cx="888103" cy="866186"/>
              </a:xfrm>
              <a:prstGeom prst="rect">
                <a:avLst/>
              </a:prstGeom>
              <a:noFill/>
            </p:spPr>
            <p:txBody>
              <a:bodyPr wrap="square" lIns="0" tIns="0" rIns="0" bIns="0" rtlCol="0" anchor="t">
                <a:noAutofit/>
              </a:bodyPr>
              <a:lstStyle/>
              <a:p>
                <a:pPr algn="ctr"/>
                <a:r>
                  <a:rPr lang="en-US" sz="1200" dirty="0">
                    <a:solidFill>
                      <a:schemeClr val="accent1"/>
                    </a:solidFill>
                  </a:rPr>
                  <a:t>24/7 Detect and Response</a:t>
                </a:r>
                <a:endParaRPr lang="en-US" sz="1200" dirty="0">
                  <a:solidFill>
                    <a:schemeClr val="tx2"/>
                  </a:solidFill>
                  <a:latin typeface="+mj-lt"/>
                </a:endParaRPr>
              </a:p>
            </p:txBody>
          </p:sp>
          <p:pic>
            <p:nvPicPr>
              <p:cNvPr id="74" name="Picture 73">
                <a:extLst>
                  <a:ext uri="{FF2B5EF4-FFF2-40B4-BE49-F238E27FC236}">
                    <a16:creationId xmlns:a16="http://schemas.microsoft.com/office/drawing/2014/main" id="{7D362186-2C40-0AA2-9BA1-6649EC443E74}"/>
                  </a:ext>
                </a:extLst>
              </p:cNvPr>
              <p:cNvPicPr>
                <a:picLocks noChangeAspect="1"/>
              </p:cNvPicPr>
              <p:nvPr/>
            </p:nvPicPr>
            <p:blipFill>
              <a:blip r:embed="rId4"/>
              <a:stretch>
                <a:fillRect/>
              </a:stretch>
            </p:blipFill>
            <p:spPr>
              <a:xfrm>
                <a:off x="8830226" y="2687954"/>
                <a:ext cx="381045" cy="470703"/>
              </a:xfrm>
              <a:prstGeom prst="rect">
                <a:avLst/>
              </a:prstGeom>
            </p:spPr>
          </p:pic>
        </p:grpSp>
        <p:sp>
          <p:nvSpPr>
            <p:cNvPr id="65" name="TextBox 64">
              <a:extLst>
                <a:ext uri="{FF2B5EF4-FFF2-40B4-BE49-F238E27FC236}">
                  <a16:creationId xmlns:a16="http://schemas.microsoft.com/office/drawing/2014/main" id="{8040FF73-5D05-B301-F9D9-BEF85F4C8B33}"/>
                </a:ext>
              </a:extLst>
            </p:cNvPr>
            <p:cNvSpPr txBox="1"/>
            <p:nvPr/>
          </p:nvSpPr>
          <p:spPr>
            <a:xfrm>
              <a:off x="7510769" y="3903757"/>
              <a:ext cx="943714" cy="715236"/>
            </a:xfrm>
            <a:prstGeom prst="rect">
              <a:avLst/>
            </a:prstGeom>
            <a:noFill/>
          </p:spPr>
          <p:txBody>
            <a:bodyPr wrap="square" lIns="0" tIns="0" rIns="0" bIns="0" rtlCol="0" anchor="t">
              <a:noAutofit/>
            </a:bodyPr>
            <a:lstStyle/>
            <a:p>
              <a:pPr algn="ctr"/>
              <a:r>
                <a:rPr lang="en-US" sz="1200" dirty="0">
                  <a:solidFill>
                    <a:schemeClr val="accent1"/>
                  </a:solidFill>
                </a:rPr>
                <a:t>Monitors FW and UTP Components</a:t>
              </a:r>
            </a:p>
          </p:txBody>
        </p:sp>
        <p:cxnSp>
          <p:nvCxnSpPr>
            <p:cNvPr id="66" name="Straight Connector 65">
              <a:extLst>
                <a:ext uri="{FF2B5EF4-FFF2-40B4-BE49-F238E27FC236}">
                  <a16:creationId xmlns:a16="http://schemas.microsoft.com/office/drawing/2014/main" id="{C9F713FF-2CBA-1E59-74E5-8EA15126B562}"/>
                </a:ext>
              </a:extLst>
            </p:cNvPr>
            <p:cNvCxnSpPr>
              <a:cxnSpLocks/>
            </p:cNvCxnSpPr>
            <p:nvPr/>
          </p:nvCxnSpPr>
          <p:spPr>
            <a:xfrm>
              <a:off x="7417434" y="2719332"/>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EA6A5E56-AA62-9484-82EE-785ECF34322C}"/>
                </a:ext>
              </a:extLst>
            </p:cNvPr>
            <p:cNvPicPr>
              <a:picLocks noChangeAspect="1"/>
            </p:cNvPicPr>
            <p:nvPr/>
          </p:nvPicPr>
          <p:blipFill>
            <a:blip r:embed="rId5"/>
            <a:stretch>
              <a:fillRect/>
            </a:stretch>
          </p:blipFill>
          <p:spPr>
            <a:xfrm>
              <a:off x="7711799" y="3294197"/>
              <a:ext cx="506420" cy="420109"/>
            </a:xfrm>
            <a:prstGeom prst="rect">
              <a:avLst/>
            </a:prstGeom>
          </p:spPr>
        </p:pic>
        <p:grpSp>
          <p:nvGrpSpPr>
            <p:cNvPr id="68" name="Group 67">
              <a:extLst>
                <a:ext uri="{FF2B5EF4-FFF2-40B4-BE49-F238E27FC236}">
                  <a16:creationId xmlns:a16="http://schemas.microsoft.com/office/drawing/2014/main" id="{84121CAE-8683-D7D6-F277-56D4A9F76230}"/>
                </a:ext>
              </a:extLst>
            </p:cNvPr>
            <p:cNvGrpSpPr/>
            <p:nvPr/>
          </p:nvGrpSpPr>
          <p:grpSpPr>
            <a:xfrm>
              <a:off x="6495887" y="2009629"/>
              <a:ext cx="3071284" cy="605035"/>
              <a:chOff x="6057106" y="1346608"/>
              <a:chExt cx="2436926" cy="605035"/>
            </a:xfrm>
          </p:grpSpPr>
          <p:sp>
            <p:nvSpPr>
              <p:cNvPr id="71" name="TextBox 70">
                <a:extLst>
                  <a:ext uri="{FF2B5EF4-FFF2-40B4-BE49-F238E27FC236}">
                    <a16:creationId xmlns:a16="http://schemas.microsoft.com/office/drawing/2014/main" id="{6FB7030E-13AD-A0EA-DA51-DFCE696DF1C8}"/>
                  </a:ext>
                </a:extLst>
              </p:cNvPr>
              <p:cNvSpPr txBox="1"/>
              <p:nvPr/>
            </p:nvSpPr>
            <p:spPr>
              <a:xfrm>
                <a:off x="6057106" y="1346608"/>
                <a:ext cx="2436926" cy="507131"/>
              </a:xfrm>
              <a:prstGeom prst="roundRect">
                <a:avLst>
                  <a:gd name="adj" fmla="val 50000"/>
                </a:avLst>
              </a:prstGeom>
              <a:solidFill>
                <a:schemeClr val="tx2"/>
              </a:solidFill>
            </p:spPr>
            <p:txBody>
              <a:bodyPr wrap="square" lIns="0" tIns="0" rIns="0" bIns="0" rtlCol="0" anchor="ctr">
                <a:noAutofit/>
              </a:bodyPr>
              <a:lstStyle/>
              <a:p>
                <a:pPr marL="0" lvl="0" indent="0" algn="ctr">
                  <a:buSzPts val="1200"/>
                  <a:buFont typeface="Arial"/>
                  <a:buNone/>
                </a:pPr>
                <a:r>
                  <a:rPr lang="en-US" sz="1400" dirty="0">
                    <a:solidFill>
                      <a:schemeClr val="bg2"/>
                    </a:solidFill>
                    <a:sym typeface="Montserrat"/>
                  </a:rPr>
                  <a:t>Threat Monitoring and Response</a:t>
                </a:r>
              </a:p>
              <a:p>
                <a:pPr marL="0" lvl="0" indent="0" algn="ctr">
                  <a:buSzPts val="1200"/>
                  <a:buFont typeface="Arial"/>
                  <a:buNone/>
                </a:pPr>
                <a:r>
                  <a:rPr lang="en-US" sz="1400" b="1" dirty="0">
                    <a:solidFill>
                      <a:schemeClr val="bg2"/>
                    </a:solidFill>
                    <a:sym typeface="Montserrat"/>
                  </a:rPr>
                  <a:t>TMR</a:t>
                </a:r>
                <a:endParaRPr lang="en-US" sz="1400" b="1" dirty="0">
                  <a:solidFill>
                    <a:schemeClr val="bg2"/>
                  </a:solidFill>
                </a:endParaRPr>
              </a:p>
            </p:txBody>
          </p:sp>
          <p:sp>
            <p:nvSpPr>
              <p:cNvPr id="72" name="Triangle 6">
                <a:extLst>
                  <a:ext uri="{FF2B5EF4-FFF2-40B4-BE49-F238E27FC236}">
                    <a16:creationId xmlns:a16="http://schemas.microsoft.com/office/drawing/2014/main" id="{DCB73681-38A9-ADF5-F298-9D45056FA4FB}"/>
                  </a:ext>
                </a:extLst>
              </p:cNvPr>
              <p:cNvSpPr/>
              <p:nvPr/>
            </p:nvSpPr>
            <p:spPr>
              <a:xfrm rot="10800000">
                <a:off x="7128915" y="1822565"/>
                <a:ext cx="299461" cy="129078"/>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9" name="TextBox 68">
              <a:extLst>
                <a:ext uri="{FF2B5EF4-FFF2-40B4-BE49-F238E27FC236}">
                  <a16:creationId xmlns:a16="http://schemas.microsoft.com/office/drawing/2014/main" id="{26805CDA-C431-873D-50F8-225F8984C490}"/>
                </a:ext>
              </a:extLst>
            </p:cNvPr>
            <p:cNvSpPr txBox="1"/>
            <p:nvPr/>
          </p:nvSpPr>
          <p:spPr>
            <a:xfrm>
              <a:off x="6720681" y="5327181"/>
              <a:ext cx="2625590" cy="1235358"/>
            </a:xfrm>
            <a:prstGeom prst="roundRect">
              <a:avLst>
                <a:gd name="adj" fmla="val 0"/>
              </a:avLst>
            </a:prstGeom>
            <a:noFill/>
          </p:spPr>
          <p:txBody>
            <a:bodyPr wrap="square" lIns="0" tIns="0" rIns="0" bIns="0" rtlCol="0" anchor="ctr">
              <a:noAutofit/>
            </a:bodyPr>
            <a:lstStyle/>
            <a:p>
              <a:pPr algn="ctr"/>
              <a:r>
                <a:rPr lang="en-US" sz="1400" b="1" dirty="0">
                  <a:solidFill>
                    <a:schemeClr val="tx2"/>
                  </a:solidFill>
                </a:rPr>
                <a:t>EDGE SECURITY &amp; VISIBILITY</a:t>
              </a:r>
            </a:p>
            <a:p>
              <a:pPr algn="ctr"/>
              <a:endParaRPr lang="en-US" sz="1400" b="1" dirty="0">
                <a:solidFill>
                  <a:schemeClr val="tx2"/>
                </a:solidFill>
              </a:endParaRPr>
            </a:p>
            <a:p>
              <a:pPr algn="ctr"/>
              <a:r>
                <a:rPr lang="en-US" sz="1400" dirty="0">
                  <a:solidFill>
                    <a:schemeClr val="tx2"/>
                  </a:solidFill>
                </a:rPr>
                <a:t>Adds security monitoring and response for</a:t>
              </a:r>
            </a:p>
            <a:p>
              <a:pPr algn="ctr"/>
              <a:r>
                <a:rPr lang="en-US" sz="1400" dirty="0">
                  <a:solidFill>
                    <a:schemeClr val="tx2"/>
                  </a:solidFill>
                </a:rPr>
                <a:t>SD-WAN sites</a:t>
              </a:r>
              <a:endParaRPr lang="en-US" sz="1100" dirty="0">
                <a:solidFill>
                  <a:schemeClr val="tx2"/>
                </a:solidFill>
              </a:endParaRPr>
            </a:p>
          </p:txBody>
        </p:sp>
        <p:sp>
          <p:nvSpPr>
            <p:cNvPr id="70" name="Left Brace 69">
              <a:extLst>
                <a:ext uri="{FF2B5EF4-FFF2-40B4-BE49-F238E27FC236}">
                  <a16:creationId xmlns:a16="http://schemas.microsoft.com/office/drawing/2014/main" id="{70B3252E-BF00-F1F7-B46A-5FFD66332534}"/>
                </a:ext>
              </a:extLst>
            </p:cNvPr>
            <p:cNvSpPr/>
            <p:nvPr/>
          </p:nvSpPr>
          <p:spPr>
            <a:xfrm rot="16200000">
              <a:off x="7902267" y="3971380"/>
              <a:ext cx="263139" cy="2330602"/>
            </a:xfrm>
            <a:prstGeom prst="leftBrace">
              <a:avLst>
                <a:gd name="adj1" fmla="val 62588"/>
                <a:gd name="adj2" fmla="val 50000"/>
              </a:avLst>
            </a:prstGeom>
            <a:ln w="15875">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96" name="Group 95">
            <a:extLst>
              <a:ext uri="{FF2B5EF4-FFF2-40B4-BE49-F238E27FC236}">
                <a16:creationId xmlns:a16="http://schemas.microsoft.com/office/drawing/2014/main" id="{EFFD0239-440E-4FFD-EA62-FBC4CCAB9DF4}"/>
              </a:ext>
            </a:extLst>
          </p:cNvPr>
          <p:cNvGrpSpPr/>
          <p:nvPr/>
        </p:nvGrpSpPr>
        <p:grpSpPr>
          <a:xfrm>
            <a:off x="8101222" y="1379301"/>
            <a:ext cx="3857764" cy="4634319"/>
            <a:chOff x="8502081" y="1604167"/>
            <a:chExt cx="3486566" cy="4634319"/>
          </a:xfrm>
        </p:grpSpPr>
        <p:sp>
          <p:nvSpPr>
            <p:cNvPr id="82" name="Rounded Rectangle 2">
              <a:extLst>
                <a:ext uri="{FF2B5EF4-FFF2-40B4-BE49-F238E27FC236}">
                  <a16:creationId xmlns:a16="http://schemas.microsoft.com/office/drawing/2014/main" id="{30C08E21-AEB4-67F7-D4FD-C23454531A32}"/>
                </a:ext>
              </a:extLst>
            </p:cNvPr>
            <p:cNvSpPr/>
            <p:nvPr/>
          </p:nvSpPr>
          <p:spPr>
            <a:xfrm>
              <a:off x="8502082" y="2274171"/>
              <a:ext cx="3486565" cy="2250695"/>
            </a:xfrm>
            <a:prstGeom prst="roundRect">
              <a:avLst>
                <a:gd name="adj" fmla="val 4979"/>
              </a:avLst>
            </a:prstGeom>
            <a:solidFill>
              <a:schemeClr val="accent6">
                <a:lumMod val="20000"/>
                <a:lumOff val="80000"/>
                <a:alpha val="50000"/>
              </a:schemeClr>
            </a:solidFill>
            <a:ln w="2222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3" name="Straight Connector 82">
              <a:extLst>
                <a:ext uri="{FF2B5EF4-FFF2-40B4-BE49-F238E27FC236}">
                  <a16:creationId xmlns:a16="http://schemas.microsoft.com/office/drawing/2014/main" id="{FCFD3DDA-1E83-651C-C05E-3B99A566B4B6}"/>
                </a:ext>
              </a:extLst>
            </p:cNvPr>
            <p:cNvCxnSpPr>
              <a:cxnSpLocks/>
            </p:cNvCxnSpPr>
            <p:nvPr/>
          </p:nvCxnSpPr>
          <p:spPr>
            <a:xfrm>
              <a:off x="9597556" y="2339314"/>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8DF9367-5115-56EB-4A5D-B5312B4CA0B9}"/>
                </a:ext>
              </a:extLst>
            </p:cNvPr>
            <p:cNvCxnSpPr>
              <a:cxnSpLocks/>
            </p:cNvCxnSpPr>
            <p:nvPr/>
          </p:nvCxnSpPr>
          <p:spPr>
            <a:xfrm>
              <a:off x="10916362" y="2401660"/>
              <a:ext cx="0" cy="2071371"/>
            </a:xfrm>
            <a:prstGeom prst="line">
              <a:avLst/>
            </a:prstGeom>
            <a:ln w="12700">
              <a:solidFill>
                <a:schemeClr val="bg2">
                  <a:lumMod val="8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450DB55F-4D2B-748C-B326-F804FB369316}"/>
                </a:ext>
              </a:extLst>
            </p:cNvPr>
            <p:cNvGrpSpPr/>
            <p:nvPr/>
          </p:nvGrpSpPr>
          <p:grpSpPr>
            <a:xfrm>
              <a:off x="8502081" y="1604167"/>
              <a:ext cx="3486566" cy="596541"/>
              <a:chOff x="6042631" y="1261583"/>
              <a:chExt cx="2627690" cy="596541"/>
            </a:xfrm>
          </p:grpSpPr>
          <p:sp>
            <p:nvSpPr>
              <p:cNvPr id="86" name="TextBox 85">
                <a:extLst>
                  <a:ext uri="{FF2B5EF4-FFF2-40B4-BE49-F238E27FC236}">
                    <a16:creationId xmlns:a16="http://schemas.microsoft.com/office/drawing/2014/main" id="{89A67A17-13F2-0896-D797-C3B72AD2920E}"/>
                  </a:ext>
                </a:extLst>
              </p:cNvPr>
              <p:cNvSpPr txBox="1"/>
              <p:nvPr/>
            </p:nvSpPr>
            <p:spPr>
              <a:xfrm>
                <a:off x="6042631" y="1261583"/>
                <a:ext cx="2627690" cy="509028"/>
              </a:xfrm>
              <a:prstGeom prst="roundRect">
                <a:avLst>
                  <a:gd name="adj" fmla="val 50000"/>
                </a:avLst>
              </a:prstGeom>
              <a:solidFill>
                <a:schemeClr val="tx2"/>
              </a:solidFill>
            </p:spPr>
            <p:txBody>
              <a:bodyPr wrap="square" lIns="0" tIns="0" rIns="0" bIns="0" rtlCol="0" anchor="ctr">
                <a:noAutofit/>
              </a:bodyPr>
              <a:lstStyle/>
              <a:p>
                <a:pPr algn="ctr"/>
                <a:r>
                  <a:rPr lang="en-US" sz="1400" dirty="0">
                    <a:solidFill>
                      <a:schemeClr val="bg2"/>
                    </a:solidFill>
                  </a:rPr>
                  <a:t>Managed Detection and Response</a:t>
                </a:r>
              </a:p>
              <a:p>
                <a:pPr algn="ctr"/>
                <a:r>
                  <a:rPr lang="en-US" sz="1400" b="1" dirty="0">
                    <a:solidFill>
                      <a:schemeClr val="bg2"/>
                    </a:solidFill>
                  </a:rPr>
                  <a:t>MDR</a:t>
                </a:r>
              </a:p>
            </p:txBody>
          </p:sp>
          <p:sp>
            <p:nvSpPr>
              <p:cNvPr id="87" name="Triangle 31">
                <a:extLst>
                  <a:ext uri="{FF2B5EF4-FFF2-40B4-BE49-F238E27FC236}">
                    <a16:creationId xmlns:a16="http://schemas.microsoft.com/office/drawing/2014/main" id="{2524F0C9-2FED-D1CE-175B-2224BA115160}"/>
                  </a:ext>
                </a:extLst>
              </p:cNvPr>
              <p:cNvSpPr/>
              <p:nvPr/>
            </p:nvSpPr>
            <p:spPr>
              <a:xfrm rot="10800000">
                <a:off x="7199497" y="1729046"/>
                <a:ext cx="299461" cy="129078"/>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8" name="Picture 87">
              <a:extLst>
                <a:ext uri="{FF2B5EF4-FFF2-40B4-BE49-F238E27FC236}">
                  <a16:creationId xmlns:a16="http://schemas.microsoft.com/office/drawing/2014/main" id="{DCCE5FB7-EA9A-AE7D-F5B2-30C9AB85B6C5}"/>
                </a:ext>
              </a:extLst>
            </p:cNvPr>
            <p:cNvPicPr>
              <a:picLocks noChangeAspect="1"/>
            </p:cNvPicPr>
            <p:nvPr/>
          </p:nvPicPr>
          <p:blipFill>
            <a:blip r:embed="rId6"/>
            <a:stretch>
              <a:fillRect/>
            </a:stretch>
          </p:blipFill>
          <p:spPr>
            <a:xfrm>
              <a:off x="10004902" y="2928968"/>
              <a:ext cx="517583" cy="341778"/>
            </a:xfrm>
            <a:prstGeom prst="rect">
              <a:avLst/>
            </a:prstGeom>
          </p:spPr>
        </p:pic>
        <p:sp>
          <p:nvSpPr>
            <p:cNvPr id="89" name="TextBox 88">
              <a:extLst>
                <a:ext uri="{FF2B5EF4-FFF2-40B4-BE49-F238E27FC236}">
                  <a16:creationId xmlns:a16="http://schemas.microsoft.com/office/drawing/2014/main" id="{FAD1BBB6-31E1-DF60-A08C-E6FEBF67D1E0}"/>
                </a:ext>
              </a:extLst>
            </p:cNvPr>
            <p:cNvSpPr txBox="1"/>
            <p:nvPr/>
          </p:nvSpPr>
          <p:spPr>
            <a:xfrm>
              <a:off x="8525272" y="3537226"/>
              <a:ext cx="1054095" cy="633976"/>
            </a:xfrm>
            <a:prstGeom prst="rect">
              <a:avLst/>
            </a:prstGeom>
            <a:noFill/>
          </p:spPr>
          <p:txBody>
            <a:bodyPr wrap="square" lIns="0" tIns="0" rIns="0" bIns="0" rtlCol="0" anchor="t">
              <a:noAutofit/>
            </a:bodyPr>
            <a:lstStyle/>
            <a:p>
              <a:pPr algn="ctr"/>
              <a:r>
                <a:rPr lang="en-US" sz="1200" dirty="0">
                  <a:solidFill>
                    <a:schemeClr val="accent1"/>
                  </a:solidFill>
                </a:rPr>
                <a:t>Monitors Entire IT Environment</a:t>
              </a:r>
              <a:endParaRPr lang="en-US" sz="1200" dirty="0">
                <a:solidFill>
                  <a:schemeClr val="tx2"/>
                </a:solidFill>
                <a:latin typeface="+mj-lt"/>
              </a:endParaRPr>
            </a:p>
          </p:txBody>
        </p:sp>
        <p:pic>
          <p:nvPicPr>
            <p:cNvPr id="90" name="Picture 89">
              <a:extLst>
                <a:ext uri="{FF2B5EF4-FFF2-40B4-BE49-F238E27FC236}">
                  <a16:creationId xmlns:a16="http://schemas.microsoft.com/office/drawing/2014/main" id="{81759B9A-E5CF-AFB9-C0F2-A4A3E1BD59D3}"/>
                </a:ext>
              </a:extLst>
            </p:cNvPr>
            <p:cNvPicPr>
              <a:picLocks noChangeAspect="1"/>
            </p:cNvPicPr>
            <p:nvPr/>
          </p:nvPicPr>
          <p:blipFill>
            <a:blip r:embed="rId7"/>
            <a:stretch>
              <a:fillRect/>
            </a:stretch>
          </p:blipFill>
          <p:spPr>
            <a:xfrm>
              <a:off x="8848107" y="2782867"/>
              <a:ext cx="443471" cy="564195"/>
            </a:xfrm>
            <a:prstGeom prst="rect">
              <a:avLst/>
            </a:prstGeom>
          </p:spPr>
        </p:pic>
        <p:sp>
          <p:nvSpPr>
            <p:cNvPr id="91" name="TextBox 90">
              <a:extLst>
                <a:ext uri="{FF2B5EF4-FFF2-40B4-BE49-F238E27FC236}">
                  <a16:creationId xmlns:a16="http://schemas.microsoft.com/office/drawing/2014/main" id="{55666882-1901-3C74-6DE3-67278E7F61D4}"/>
                </a:ext>
              </a:extLst>
            </p:cNvPr>
            <p:cNvSpPr txBox="1"/>
            <p:nvPr/>
          </p:nvSpPr>
          <p:spPr>
            <a:xfrm>
              <a:off x="10916361" y="3537227"/>
              <a:ext cx="1054096" cy="520176"/>
            </a:xfrm>
            <a:prstGeom prst="rect">
              <a:avLst/>
            </a:prstGeom>
            <a:noFill/>
          </p:spPr>
          <p:txBody>
            <a:bodyPr wrap="square" lIns="0" tIns="0" rIns="0" bIns="0" rtlCol="0" anchor="t">
              <a:noAutofit/>
            </a:bodyPr>
            <a:lstStyle/>
            <a:p>
              <a:pPr algn="ctr"/>
              <a:r>
                <a:rPr lang="en-US" sz="1200" dirty="0">
                  <a:solidFill>
                    <a:schemeClr val="accent1"/>
                  </a:solidFill>
                </a:rPr>
                <a:t>24/7 Detect and Respond</a:t>
              </a:r>
            </a:p>
          </p:txBody>
        </p:sp>
        <p:pic>
          <p:nvPicPr>
            <p:cNvPr id="92" name="Picture 91">
              <a:extLst>
                <a:ext uri="{FF2B5EF4-FFF2-40B4-BE49-F238E27FC236}">
                  <a16:creationId xmlns:a16="http://schemas.microsoft.com/office/drawing/2014/main" id="{38210226-9466-EDCB-032E-758FB2980EF9}"/>
                </a:ext>
              </a:extLst>
            </p:cNvPr>
            <p:cNvPicPr>
              <a:picLocks noChangeAspect="1"/>
            </p:cNvPicPr>
            <p:nvPr/>
          </p:nvPicPr>
          <p:blipFill>
            <a:blip r:embed="rId8"/>
            <a:stretch>
              <a:fillRect/>
            </a:stretch>
          </p:blipFill>
          <p:spPr>
            <a:xfrm>
              <a:off x="11269889" y="2903729"/>
              <a:ext cx="344999" cy="403691"/>
            </a:xfrm>
            <a:prstGeom prst="rect">
              <a:avLst/>
            </a:prstGeom>
          </p:spPr>
        </p:pic>
        <p:sp>
          <p:nvSpPr>
            <p:cNvPr id="93" name="TextBox 92">
              <a:extLst>
                <a:ext uri="{FF2B5EF4-FFF2-40B4-BE49-F238E27FC236}">
                  <a16:creationId xmlns:a16="http://schemas.microsoft.com/office/drawing/2014/main" id="{E6DCBB62-2FE7-5434-5176-88ACDCA74DE3}"/>
                </a:ext>
              </a:extLst>
            </p:cNvPr>
            <p:cNvSpPr txBox="1"/>
            <p:nvPr/>
          </p:nvSpPr>
          <p:spPr>
            <a:xfrm>
              <a:off x="9631168" y="3497622"/>
              <a:ext cx="1236644" cy="734464"/>
            </a:xfrm>
            <a:prstGeom prst="rect">
              <a:avLst/>
            </a:prstGeom>
            <a:noFill/>
          </p:spPr>
          <p:txBody>
            <a:bodyPr wrap="square" lIns="0" tIns="0" rIns="0" bIns="0" rtlCol="0" anchor="t">
              <a:noAutofit/>
            </a:bodyPr>
            <a:lstStyle/>
            <a:p>
              <a:pPr algn="ctr"/>
              <a:r>
                <a:rPr lang="en-US" sz="1200" dirty="0">
                  <a:solidFill>
                    <a:schemeClr val="accent1"/>
                  </a:solidFill>
                </a:rPr>
                <a:t>Covers Endpoint, Servers, Network and Cloud </a:t>
              </a:r>
            </a:p>
          </p:txBody>
        </p:sp>
        <p:sp>
          <p:nvSpPr>
            <p:cNvPr id="94" name="TextBox 93">
              <a:extLst>
                <a:ext uri="{FF2B5EF4-FFF2-40B4-BE49-F238E27FC236}">
                  <a16:creationId xmlns:a16="http://schemas.microsoft.com/office/drawing/2014/main" id="{449483A0-0242-EA40-A7F0-DDD5783B127B}"/>
                </a:ext>
              </a:extLst>
            </p:cNvPr>
            <p:cNvSpPr txBox="1"/>
            <p:nvPr/>
          </p:nvSpPr>
          <p:spPr>
            <a:xfrm>
              <a:off x="8525274" y="5058424"/>
              <a:ext cx="3397430" cy="1180062"/>
            </a:xfrm>
            <a:prstGeom prst="roundRect">
              <a:avLst>
                <a:gd name="adj" fmla="val 0"/>
              </a:avLst>
            </a:prstGeom>
            <a:noFill/>
          </p:spPr>
          <p:txBody>
            <a:bodyPr wrap="square" lIns="0" tIns="0" rIns="0" bIns="0" rtlCol="0" anchor="ctr">
              <a:noAutofit/>
            </a:bodyPr>
            <a:lstStyle/>
            <a:p>
              <a:pPr algn="ctr"/>
              <a:r>
                <a:rPr lang="en-US" sz="1400" b="1" dirty="0">
                  <a:solidFill>
                    <a:schemeClr val="tx2"/>
                  </a:solidFill>
                </a:rPr>
                <a:t>PREVENT &amp; DETECT</a:t>
              </a:r>
            </a:p>
            <a:p>
              <a:pPr algn="ctr"/>
              <a:endParaRPr lang="en-US" sz="1400" b="1" dirty="0">
                <a:solidFill>
                  <a:schemeClr val="tx2"/>
                </a:solidFill>
              </a:endParaRPr>
            </a:p>
            <a:p>
              <a:pPr algn="ctr"/>
              <a:r>
                <a:rPr lang="en-US" sz="1400" dirty="0">
                  <a:solidFill>
                    <a:schemeClr val="tx2"/>
                  </a:solidFill>
                </a:rPr>
                <a:t>Designed to monitor the entire IT environment with multiple layers detection &amp; response in a single solution</a:t>
              </a:r>
              <a:endParaRPr lang="en-US" sz="1100" dirty="0">
                <a:solidFill>
                  <a:schemeClr val="tx2"/>
                </a:solidFill>
              </a:endParaRPr>
            </a:p>
          </p:txBody>
        </p:sp>
        <p:sp>
          <p:nvSpPr>
            <p:cNvPr id="95" name="Left Brace 94">
              <a:extLst>
                <a:ext uri="{FF2B5EF4-FFF2-40B4-BE49-F238E27FC236}">
                  <a16:creationId xmlns:a16="http://schemas.microsoft.com/office/drawing/2014/main" id="{CC02D3A1-5E2F-52E9-C459-4D94FA0B7D96}"/>
                </a:ext>
              </a:extLst>
            </p:cNvPr>
            <p:cNvSpPr/>
            <p:nvPr/>
          </p:nvSpPr>
          <p:spPr>
            <a:xfrm rot="16200000">
              <a:off x="10123874" y="3466694"/>
              <a:ext cx="263139" cy="2563108"/>
            </a:xfrm>
            <a:prstGeom prst="leftBrace">
              <a:avLst>
                <a:gd name="adj1" fmla="val 62588"/>
                <a:gd name="adj2" fmla="val 50000"/>
              </a:avLst>
            </a:prstGeom>
            <a:ln w="158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49208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300"/>
                                        <p:tgtEl>
                                          <p:spTgt spid="29"/>
                                        </p:tgtEl>
                                      </p:cBhvr>
                                    </p:animEffect>
                                  </p:childTnLst>
                                </p:cTn>
                              </p:par>
                              <p:par>
                                <p:cTn id="8" presetID="16" presetClass="entr" presetSubtype="37"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outVertic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5E3C505-FB90-27D2-44A3-67BF4ADF2482}"/>
              </a:ext>
            </a:extLst>
          </p:cNvPr>
          <p:cNvSpPr>
            <a:spLocks noGrp="1"/>
          </p:cNvSpPr>
          <p:nvPr>
            <p:ph type="title"/>
          </p:nvPr>
        </p:nvSpPr>
        <p:spPr>
          <a:xfrm>
            <a:off x="667613" y="328612"/>
            <a:ext cx="11305313" cy="822960"/>
          </a:xfrm>
        </p:spPr>
        <p:txBody>
          <a:bodyPr vert="horz" wrap="square" lIns="0" tIns="0" rIns="0" bIns="0" numCol="1" anchor="t" anchorCtr="0" compatLnSpc="1">
            <a:prstTxWarp prst="textNoShape">
              <a:avLst/>
            </a:prstTxWarp>
            <a:normAutofit/>
          </a:bodyPr>
          <a:lstStyle/>
          <a:p>
            <a:r>
              <a:rPr lang="en-US" kern="1200">
                <a:latin typeface="+mn-lt"/>
                <a:ea typeface="+mj-ea"/>
                <a:cs typeface="+mj-cs"/>
              </a:rPr>
              <a:t>How the Security Operations Center (SOC) Works</a:t>
            </a:r>
          </a:p>
        </p:txBody>
      </p:sp>
      <p:sp>
        <p:nvSpPr>
          <p:cNvPr id="15" name="Slide Number Placeholder 4">
            <a:extLst>
              <a:ext uri="{FF2B5EF4-FFF2-40B4-BE49-F238E27FC236}">
                <a16:creationId xmlns:a16="http://schemas.microsoft.com/office/drawing/2014/main" id="{D316539E-BE82-09F8-4648-0D0DFF6DFF4C}"/>
              </a:ext>
            </a:extLst>
          </p:cNvPr>
          <p:cNvSpPr>
            <a:spLocks noGrp="1"/>
          </p:cNvSpPr>
          <p:nvPr>
            <p:ph type="sldNum" sz="quarter" idx="12"/>
          </p:nvPr>
        </p:nvSpPr>
        <p:spPr/>
        <p:txBody>
          <a:bodyPr vert="horz" lIns="0" tIns="0" rIns="0" bIns="0" rtlCol="0" anchor="b" anchorCtr="0">
            <a:norm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fld id="{895EF941-2948-43AF-8C67-2CD7B793945E}" type="slidenum">
              <a:rPr kumimoji="0" lang="en-US" sz="800" b="0" i="0" u="none" strike="noStrike" kern="0" cap="none" spc="0" normalizeH="0" baseline="0" noProof="0">
                <a:ln>
                  <a:noFill/>
                </a:ln>
                <a:solidFill>
                  <a:srgbClr val="112F64"/>
                </a:solidFill>
                <a:effectLst/>
                <a:uLnTx/>
                <a:uFillTx/>
                <a:latin typeface="Montserrat"/>
                <a:ea typeface="Arial"/>
                <a:cs typeface="Arial"/>
                <a:sym typeface="Arial"/>
              </a:rPr>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t>4</a:t>
            </a:fld>
            <a:endParaRPr kumimoji="0" lang="en-US" sz="800" b="0" i="0" u="none" strike="noStrike" kern="0" cap="none" spc="0" normalizeH="0" baseline="0" noProof="0">
              <a:ln>
                <a:noFill/>
              </a:ln>
              <a:solidFill>
                <a:srgbClr val="112F64"/>
              </a:solidFill>
              <a:effectLst/>
              <a:uLnTx/>
              <a:uFillTx/>
              <a:latin typeface="Montserrat"/>
              <a:ea typeface="Arial"/>
              <a:cs typeface="Arial"/>
              <a:sym typeface="Arial"/>
            </a:endParaRPr>
          </a:p>
        </p:txBody>
      </p:sp>
      <p:sp>
        <p:nvSpPr>
          <p:cNvPr id="14" name="Google Shape;2519;p302">
            <a:extLst>
              <a:ext uri="{FF2B5EF4-FFF2-40B4-BE49-F238E27FC236}">
                <a16:creationId xmlns:a16="http://schemas.microsoft.com/office/drawing/2014/main" id="{8A074A61-1171-8539-565F-7BD826D50C8F}"/>
              </a:ext>
            </a:extLst>
          </p:cNvPr>
          <p:cNvSpPr txBox="1"/>
          <p:nvPr/>
        </p:nvSpPr>
        <p:spPr bwMode="auto">
          <a:xfrm>
            <a:off x="5864351" y="1038703"/>
            <a:ext cx="5879305" cy="5133497"/>
          </a:xfrm>
          <a:prstGeom prst="rect">
            <a:avLst/>
          </a:prstGeom>
          <a:noFill/>
          <a:ln>
            <a:noFill/>
          </a:ln>
        </p:spPr>
        <p:txBody>
          <a:bodyPr spcFirstLastPara="1"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ts val="600"/>
              </a:spcAft>
              <a:buClr>
                <a:srgbClr val="000000"/>
              </a:buClr>
              <a:buSzTx/>
              <a:buFont typeface="Arial"/>
              <a:buNone/>
              <a:tabLst/>
              <a:defRPr/>
            </a:pPr>
            <a:r>
              <a:rPr kumimoji="0" lang="en-US" sz="1600" b="1" i="0" u="none" strike="noStrike" kern="1200" cap="none" spc="0" normalizeH="0" baseline="0" noProof="0" dirty="0">
                <a:ln>
                  <a:noFill/>
                </a:ln>
                <a:solidFill>
                  <a:srgbClr val="000000"/>
                </a:solidFill>
                <a:effectLst/>
                <a:uLnTx/>
                <a:uFillTx/>
                <a:latin typeface="Montserrat"/>
                <a:ea typeface="+mn-ea"/>
                <a:cs typeface="Arial"/>
                <a:sym typeface="Arial"/>
              </a:rPr>
              <a:t>Core Responsibilities</a:t>
            </a:r>
            <a:endParaRPr kumimoji="0" lang="en-US" sz="16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base" latinLnBrk="0" hangingPunct="1">
              <a:lnSpc>
                <a:spcPct val="90000"/>
              </a:lnSpc>
              <a:spcBef>
                <a:spcPts val="0"/>
              </a:spcBef>
              <a:spcAft>
                <a:spcPts val="600"/>
              </a:spcAft>
              <a:buClr>
                <a:srgbClr val="000000"/>
              </a:buClr>
              <a:buSzTx/>
              <a:buFont typeface="Arial"/>
              <a:buNone/>
              <a:tabLst/>
              <a:defRPr/>
            </a:pPr>
            <a:endParaRPr kumimoji="0" lang="en-US" sz="1600" b="1" i="0" u="none" strike="noStrike" kern="1200" cap="none" spc="0" normalizeH="0" baseline="0" noProof="0" dirty="0">
              <a:ln>
                <a:noFill/>
              </a:ln>
              <a:solidFill>
                <a:srgbClr val="000000"/>
              </a:solidFill>
              <a:effectLst/>
              <a:uLnTx/>
              <a:uFillTx/>
              <a:latin typeface="Montserrat"/>
              <a:ea typeface="+mn-ea"/>
              <a:cs typeface="Arial"/>
              <a:sym typeface="Arial"/>
            </a:endParaRP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r>
              <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rPr>
              <a:t>24/7 Prevention and proactive security monitoring with fast incident response for identified threats with remediation advice based on business impact [CONTEXT MATTERS!!!]</a:t>
            </a: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endPar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endParaRP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r>
              <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rPr>
              <a:t>Continuous data enrichment with rule curation, AI/ML automation and integration combined with SOAR </a:t>
            </a:r>
          </a:p>
          <a:p>
            <a:pPr marL="139700" marR="0" lvl="0" indent="0" algn="l" defTabSz="914400" rtl="0" eaLnBrk="1" fontAlgn="base" latinLnBrk="0" hangingPunct="1">
              <a:lnSpc>
                <a:spcPct val="90000"/>
              </a:lnSpc>
              <a:spcBef>
                <a:spcPts val="0"/>
              </a:spcBef>
              <a:spcAft>
                <a:spcPts val="600"/>
              </a:spcAft>
              <a:buClr>
                <a:srgbClr val="000000"/>
              </a:buClr>
              <a:buSzPts val="1400"/>
              <a:buFont typeface="Arial"/>
              <a:buNone/>
              <a:tabLst/>
              <a:defRPr/>
            </a:pPr>
            <a:endParaRPr kumimoji="0" lang="en-US" sz="1600" b="0" i="0" u="none" strike="noStrike" kern="1200" cap="none" spc="0" normalizeH="0" baseline="0" noProof="0" dirty="0">
              <a:ln>
                <a:noFill/>
              </a:ln>
              <a:solidFill>
                <a:srgbClr val="000000"/>
              </a:solidFill>
              <a:effectLst/>
              <a:uLnTx/>
              <a:uFillTx/>
              <a:latin typeface="Montserrat"/>
              <a:ea typeface="Calibri"/>
              <a:cs typeface="Calibri"/>
              <a:sym typeface="Arial"/>
            </a:endParaRP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r>
              <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rPr>
              <a:t>End-to-End MDR &amp; EDR analysis with reporting to identify threats with remediations, KPIs for top threats, risk categorization, with MITRE ATT&amp;CK </a:t>
            </a: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endParaRPr kumimoji="0" lang="en-US" sz="1600" b="0" i="0" u="none" strike="noStrike" kern="1200" cap="none" spc="0" normalizeH="0" baseline="0" noProof="0" dirty="0">
              <a:ln>
                <a:noFill/>
              </a:ln>
              <a:solidFill>
                <a:srgbClr val="000000"/>
              </a:solidFill>
              <a:effectLst/>
              <a:uLnTx/>
              <a:uFillTx/>
              <a:latin typeface="Montserrat"/>
              <a:ea typeface="Calibri"/>
              <a:cs typeface="Calibri"/>
              <a:sym typeface="Arial"/>
            </a:endParaRPr>
          </a:p>
          <a:p>
            <a:pPr marL="456565" marR="0" lvl="0" indent="-316865" algn="l" defTabSz="914400" rtl="0" eaLnBrk="1" fontAlgn="auto" latinLnBrk="0" hangingPunct="1">
              <a:lnSpc>
                <a:spcPct val="90000"/>
              </a:lnSpc>
              <a:spcBef>
                <a:spcPts val="0"/>
              </a:spcBef>
              <a:spcAft>
                <a:spcPts val="600"/>
              </a:spcAft>
              <a:buClr>
                <a:srgbClr val="000000"/>
              </a:buClr>
              <a:buSzPts val="1400"/>
              <a:buFont typeface="Montserrat"/>
              <a:buChar char="●"/>
              <a:tabLst/>
              <a:defRPr/>
            </a:pPr>
            <a:r>
              <a:rPr kumimoji="0" lang="en-US" sz="1600" b="0" i="0" u="none" strike="noStrike" kern="1200" cap="none" spc="0" normalizeH="0" baseline="0" noProof="0" dirty="0">
                <a:ln>
                  <a:noFill/>
                </a:ln>
                <a:solidFill>
                  <a:srgbClr val="000000"/>
                </a:solidFill>
                <a:effectLst/>
                <a:uLnTx/>
                <a:uFillTx/>
                <a:latin typeface="Montserrat"/>
                <a:ea typeface="Calibri"/>
                <a:cs typeface="Calibri"/>
                <a:sym typeface="Arial"/>
              </a:rPr>
              <a:t>Threat </a:t>
            </a:r>
            <a:r>
              <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rPr>
              <a:t>intelligence, collect &amp; curate intel, identify suspicious behaviors and detect existing </a:t>
            </a:r>
            <a:r>
              <a:rPr kumimoji="0" lang="en-US" sz="1600" b="0" i="0" u="none" strike="noStrike" kern="1200" cap="none" spc="0" normalizeH="0" baseline="0" noProof="0" dirty="0" err="1">
                <a:ln>
                  <a:noFill/>
                </a:ln>
                <a:solidFill>
                  <a:srgbClr val="000000"/>
                </a:solidFill>
                <a:effectLst/>
                <a:uLnTx/>
                <a:uFillTx/>
                <a:latin typeface="Montserrat"/>
                <a:ea typeface="+mn-ea"/>
                <a:cs typeface="Arial"/>
                <a:sym typeface="Arial"/>
              </a:rPr>
              <a:t>IoC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139065" marR="0" lvl="0" indent="0" algn="l" defTabSz="914400" rtl="0" eaLnBrk="1" fontAlgn="base" latinLnBrk="0" hangingPunct="1">
              <a:lnSpc>
                <a:spcPct val="90000"/>
              </a:lnSpc>
              <a:spcBef>
                <a:spcPts val="0"/>
              </a:spcBef>
              <a:spcAft>
                <a:spcPts val="600"/>
              </a:spcAft>
              <a:buClr>
                <a:srgbClr val="000000"/>
              </a:buClr>
              <a:buSzPts val="1400"/>
              <a:buFont typeface="Arial"/>
              <a:buNone/>
              <a:tabLst/>
              <a:defRPr/>
            </a:pPr>
            <a:endPar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endParaRPr>
          </a:p>
          <a:p>
            <a:pPr marL="456565" marR="0" lvl="0" indent="-316865" algn="l" defTabSz="914400" rtl="0" eaLnBrk="1" fontAlgn="base" latinLnBrk="0" hangingPunct="1">
              <a:lnSpc>
                <a:spcPct val="90000"/>
              </a:lnSpc>
              <a:spcBef>
                <a:spcPts val="0"/>
              </a:spcBef>
              <a:spcAft>
                <a:spcPts val="600"/>
              </a:spcAft>
              <a:buClr>
                <a:srgbClr val="000000"/>
              </a:buClr>
              <a:buSzPts val="1400"/>
              <a:buFont typeface="Montserrat"/>
              <a:buChar char="●"/>
              <a:tabLst/>
              <a:defRPr/>
            </a:pPr>
            <a:r>
              <a:rPr kumimoji="0" lang="en-US" sz="1600" b="0" i="0" u="none" strike="noStrike" kern="1200" cap="none" spc="0" normalizeH="0" baseline="0" noProof="0" dirty="0">
                <a:ln>
                  <a:noFill/>
                </a:ln>
                <a:solidFill>
                  <a:srgbClr val="000000"/>
                </a:solidFill>
                <a:effectLst/>
                <a:uLnTx/>
                <a:uFillTx/>
                <a:latin typeface="Montserrat"/>
                <a:ea typeface="+mn-ea"/>
                <a:cs typeface="Arial"/>
                <a:sym typeface="Arial"/>
              </a:rPr>
              <a:t>Threat hunting - proactively search for IOCs, retroactive searching, curate new threat detections,  and internal investigations</a:t>
            </a:r>
          </a:p>
          <a:p>
            <a:pPr marL="139700" marR="0" lvl="0" indent="0" algn="l" defTabSz="914400" rtl="0" eaLnBrk="1" fontAlgn="auto" latinLnBrk="0" hangingPunct="1">
              <a:lnSpc>
                <a:spcPct val="90000"/>
              </a:lnSpc>
              <a:spcBef>
                <a:spcPts val="0"/>
              </a:spcBef>
              <a:spcAft>
                <a:spcPts val="600"/>
              </a:spcAft>
              <a:buClr>
                <a:srgbClr val="000000"/>
              </a:buClr>
              <a:buSzPts val="1400"/>
              <a:buFont typeface="Arial"/>
              <a:buNone/>
              <a:tabLst/>
              <a:defRPr/>
            </a:pPr>
            <a:endParaRPr kumimoji="0" lang="en-US" sz="1100" b="0" i="0" u="none" strike="noStrike" kern="1200" cap="none" spc="0" normalizeH="0" baseline="0" noProof="0" dirty="0">
              <a:ln>
                <a:noFill/>
              </a:ln>
              <a:solidFill>
                <a:srgbClr val="000000"/>
              </a:solidFill>
              <a:effectLst/>
              <a:uLnTx/>
              <a:uFillTx/>
              <a:latin typeface="Calibri"/>
              <a:ea typeface="Calibri"/>
              <a:cs typeface="Calibri"/>
              <a:sym typeface="Arial"/>
            </a:endParaRPr>
          </a:p>
          <a:p>
            <a:pPr marL="139065" marR="0" lvl="0" indent="0" algn="l" defTabSz="914400" rtl="0" eaLnBrk="1" fontAlgn="base" latinLnBrk="0" hangingPunct="1">
              <a:lnSpc>
                <a:spcPct val="90000"/>
              </a:lnSpc>
              <a:spcBef>
                <a:spcPts val="0"/>
              </a:spcBef>
              <a:spcAft>
                <a:spcPts val="600"/>
              </a:spcAft>
              <a:buClr>
                <a:srgbClr val="000000"/>
              </a:buClr>
              <a:buSzPts val="1400"/>
              <a:buFont typeface="Arial"/>
              <a:buNone/>
              <a:tabLst/>
              <a:defRPr/>
            </a:pPr>
            <a:endParaRPr kumimoji="0" lang="en-US" sz="1400" b="0" i="0" u="none" strike="noStrike" kern="1200" cap="none" spc="0" normalizeH="0" baseline="0" noProof="0" dirty="0">
              <a:ln>
                <a:noFill/>
              </a:ln>
              <a:solidFill>
                <a:srgbClr val="000000"/>
              </a:solidFill>
              <a:effectLst/>
              <a:uLnTx/>
              <a:uFillTx/>
              <a:latin typeface="Montserrat"/>
              <a:ea typeface="+mn-ea"/>
              <a:cs typeface="Arial"/>
              <a:sym typeface="Arial"/>
            </a:endParaRPr>
          </a:p>
          <a:p>
            <a:pPr marL="139700" marR="0" lvl="0" indent="0" algn="l" defTabSz="914400" rtl="0" eaLnBrk="1" fontAlgn="base" latinLnBrk="0" hangingPunct="1">
              <a:lnSpc>
                <a:spcPct val="90000"/>
              </a:lnSpc>
              <a:spcBef>
                <a:spcPts val="0"/>
              </a:spcBef>
              <a:spcAft>
                <a:spcPts val="600"/>
              </a:spcAft>
              <a:buClr>
                <a:srgbClr val="000000"/>
              </a:buClr>
              <a:buSzPts val="1400"/>
              <a:buFont typeface="Arial"/>
              <a:buNone/>
              <a:tabLst/>
              <a:defRPr/>
            </a:pPr>
            <a:endParaRPr kumimoji="0" lang="en-US" sz="1400" b="0" i="0" u="none" strike="noStrike" kern="1200" cap="none" spc="0" normalizeH="0" baseline="0" noProof="0" dirty="0">
              <a:ln>
                <a:noFill/>
              </a:ln>
              <a:solidFill>
                <a:srgbClr val="000000"/>
              </a:solidFill>
              <a:effectLst/>
              <a:uLnTx/>
              <a:uFillTx/>
              <a:latin typeface="Montserrat"/>
              <a:ea typeface="+mn-ea"/>
              <a:cs typeface="Arial"/>
              <a:sym typeface="Arial"/>
            </a:endParaRPr>
          </a:p>
        </p:txBody>
      </p:sp>
      <p:pic>
        <p:nvPicPr>
          <p:cNvPr id="16" name="Picture 16" descr="Chart, bubble chart&#10;&#10;Description automatically generated">
            <a:extLst>
              <a:ext uri="{FF2B5EF4-FFF2-40B4-BE49-F238E27FC236}">
                <a16:creationId xmlns:a16="http://schemas.microsoft.com/office/drawing/2014/main" id="{1080DCCC-398B-549D-9496-6D91A2F27142}"/>
              </a:ext>
            </a:extLst>
          </p:cNvPr>
          <p:cNvPicPr>
            <a:picLocks noChangeAspect="1"/>
          </p:cNvPicPr>
          <p:nvPr/>
        </p:nvPicPr>
        <p:blipFill>
          <a:blip r:embed="rId3"/>
          <a:stretch>
            <a:fillRect/>
          </a:stretch>
        </p:blipFill>
        <p:spPr>
          <a:xfrm>
            <a:off x="97365" y="907732"/>
            <a:ext cx="5778206" cy="5824061"/>
          </a:xfrm>
          <a:prstGeom prst="rect">
            <a:avLst/>
          </a:prstGeom>
          <a:noFill/>
        </p:spPr>
      </p:pic>
    </p:spTree>
    <p:extLst>
      <p:ext uri="{BB962C8B-B14F-4D97-AF65-F5344CB8AC3E}">
        <p14:creationId xmlns:p14="http://schemas.microsoft.com/office/powerpoint/2010/main" val="3682797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5ECB54-26AE-4B2B-89CA-F481A7CFA1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65ECB54-26AE-4B2B-89CA-F481A7CFA1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8" name="Google Shape;388;p60"/>
          <p:cNvSpPr txBox="1">
            <a:spLocks noGrp="1"/>
          </p:cNvSpPr>
          <p:nvPr>
            <p:ph type="title"/>
          </p:nvPr>
        </p:nvSpPr>
        <p:spPr>
          <a:xfrm>
            <a:off x="458242" y="375506"/>
            <a:ext cx="11305312" cy="923206"/>
          </a:xfrm>
        </p:spPr>
        <p:txBody>
          <a:bodyPr/>
          <a:lstStyle/>
          <a:p>
            <a:r>
              <a:rPr lang="en" dirty="0">
                <a:solidFill>
                  <a:srgbClr val="0D61FF"/>
                </a:solidFill>
                <a:sym typeface="Montserrat"/>
              </a:rPr>
              <a:t>Protecting the Endpoint </a:t>
            </a:r>
            <a:endParaRPr lang="en-US" dirty="0">
              <a:solidFill>
                <a:srgbClr val="0D61FF"/>
              </a:solidFill>
            </a:endParaRPr>
          </a:p>
        </p:txBody>
      </p:sp>
      <p:sp>
        <p:nvSpPr>
          <p:cNvPr id="7" name="Slide Number Placeholder 6">
            <a:extLst>
              <a:ext uri="{FF2B5EF4-FFF2-40B4-BE49-F238E27FC236}">
                <a16:creationId xmlns:a16="http://schemas.microsoft.com/office/drawing/2014/main" id="{6C3DD290-7011-B2FA-50FF-9EC7DDF09D64}"/>
              </a:ext>
            </a:extLst>
          </p:cNvPr>
          <p:cNvSpPr>
            <a:spLocks noGrp="1"/>
          </p:cNvSpPr>
          <p:nvPr>
            <p:ph type="sldNum" sz="quarter" idx="15"/>
          </p:nvPr>
        </p:nvSpPr>
        <p:spPr>
          <a:xfrm>
            <a:off x="11341100" y="6424613"/>
            <a:ext cx="393700" cy="200025"/>
          </a:xfrm>
          <a:prstGeom prst="rect">
            <a:avLst/>
          </a:prstGeom>
        </p:spPr>
        <p:txBody>
          <a:bodyPr vert="horz" lIns="0" tIns="0" rIns="0" bIns="0" rtlCol="0" anchor="b" anchorCtr="0">
            <a:noAutofit/>
          </a:bodyPr>
          <a:lstStyle>
            <a:defPPr marR="0" lvl="0" algn="l" rtl="0">
              <a:lnSpc>
                <a:spcPct val="100000"/>
              </a:lnSpc>
              <a:spcBef>
                <a:spcPts val="0"/>
              </a:spcBef>
              <a:spcAft>
                <a:spcPts val="0"/>
              </a:spcAft>
            </a:defPPr>
            <a:lvl1pPr marR="0" lvl="0" algn="r" rtl="0" eaLnBrk="1" fontAlgn="auto" hangingPunct="1">
              <a:lnSpc>
                <a:spcPct val="100000"/>
              </a:lnSpc>
              <a:spcBef>
                <a:spcPts val="0"/>
              </a:spcBef>
              <a:spcAft>
                <a:spcPts val="0"/>
              </a:spcAft>
              <a:buClr>
                <a:srgbClr val="000000"/>
              </a:buClr>
              <a:buFont typeface="Arial"/>
              <a:defRPr sz="800" b="0" i="0" u="none" strike="noStrike" cap="none">
                <a:solidFill>
                  <a:schemeClr val="tx2"/>
                </a:solidFill>
                <a:latin typeface="+mn-lt"/>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573B0FA-D514-D342-BBD2-A36398DC40D1}" type="slidenum">
              <a:rPr kumimoji="0" lang="en-US" sz="800" b="0" i="0" u="none" strike="noStrike" kern="1200" cap="none" spc="0" normalizeH="0" baseline="0" noProof="0" smtClean="0">
                <a:ln>
                  <a:noFill/>
                </a:ln>
                <a:solidFill>
                  <a:srgbClr val="112F64"/>
                </a:solidFill>
                <a:effectLst/>
                <a:uLnTx/>
                <a:uFillTx/>
                <a:latin typeface="Montserrat"/>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800" b="0" i="0" u="none" strike="noStrike" kern="1200" cap="none" spc="0" normalizeH="0" baseline="0" noProof="0">
              <a:ln>
                <a:noFill/>
              </a:ln>
              <a:solidFill>
                <a:srgbClr val="112F64"/>
              </a:solidFill>
              <a:effectLst/>
              <a:uLnTx/>
              <a:uFillTx/>
              <a:latin typeface="Montserrat"/>
              <a:ea typeface="+mn-ea"/>
              <a:cs typeface="Arial"/>
              <a:sym typeface="Arial"/>
            </a:endParaRPr>
          </a:p>
        </p:txBody>
      </p:sp>
      <p:cxnSp>
        <p:nvCxnSpPr>
          <p:cNvPr id="10" name="Straight Arrow Connector 9">
            <a:extLst>
              <a:ext uri="{FF2B5EF4-FFF2-40B4-BE49-F238E27FC236}">
                <a16:creationId xmlns:a16="http://schemas.microsoft.com/office/drawing/2014/main" id="{37972A54-709B-930A-A580-0EF6FD6B96C9}"/>
              </a:ext>
            </a:extLst>
          </p:cNvPr>
          <p:cNvCxnSpPr>
            <a:cxnSpLocks/>
          </p:cNvCxnSpPr>
          <p:nvPr/>
        </p:nvCxnSpPr>
        <p:spPr>
          <a:xfrm>
            <a:off x="6139133" y="2107313"/>
            <a:ext cx="0" cy="4167114"/>
          </a:xfrm>
          <a:prstGeom prst="straightConnector1">
            <a:avLst/>
          </a:prstGeom>
          <a:ln w="1270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0CCFF2C3-FD50-D9AC-1C80-C45C4DA2E366}"/>
              </a:ext>
            </a:extLst>
          </p:cNvPr>
          <p:cNvGrpSpPr/>
          <p:nvPr/>
        </p:nvGrpSpPr>
        <p:grpSpPr>
          <a:xfrm>
            <a:off x="2467561" y="2305460"/>
            <a:ext cx="3309477" cy="3741657"/>
            <a:chOff x="2424429" y="1744743"/>
            <a:chExt cx="3309477" cy="3741657"/>
          </a:xfrm>
        </p:grpSpPr>
        <p:sp>
          <p:nvSpPr>
            <p:cNvPr id="8" name="TextBox 7">
              <a:extLst>
                <a:ext uri="{FF2B5EF4-FFF2-40B4-BE49-F238E27FC236}">
                  <a16:creationId xmlns:a16="http://schemas.microsoft.com/office/drawing/2014/main" id="{2A3EF423-F619-2253-C3ED-BA9C8FFF5320}"/>
                </a:ext>
              </a:extLst>
            </p:cNvPr>
            <p:cNvSpPr txBox="1"/>
            <p:nvPr/>
          </p:nvSpPr>
          <p:spPr>
            <a:xfrm>
              <a:off x="2424429" y="1848904"/>
              <a:ext cx="3200400" cy="3637496"/>
            </a:xfrm>
            <a:prstGeom prst="roundRect">
              <a:avLst>
                <a:gd name="adj" fmla="val 4993"/>
              </a:avLst>
            </a:prstGeom>
            <a:pattFill prst="wdUpDiag">
              <a:fgClr>
                <a:schemeClr val="accent2">
                  <a:lumMod val="60000"/>
                  <a:lumOff val="40000"/>
                </a:schemeClr>
              </a:fgClr>
              <a:bgClr>
                <a:schemeClr val="bg2"/>
              </a:bgClr>
            </a:pattFill>
          </p:spPr>
          <p:txBody>
            <a:bodyPr rot="0" spcFirstLastPara="0" vertOverflow="overflow" horzOverflow="overflow" vert="horz" wrap="square" lIns="182880" tIns="1188720" rIns="182880" bIns="18288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p:txBody>
        </p:sp>
        <p:sp>
          <p:nvSpPr>
            <p:cNvPr id="11" name="TextBox 10">
              <a:extLst>
                <a:ext uri="{FF2B5EF4-FFF2-40B4-BE49-F238E27FC236}">
                  <a16:creationId xmlns:a16="http://schemas.microsoft.com/office/drawing/2014/main" id="{3BD5FE94-8CEC-98F9-9F05-A4F10A693A46}"/>
                </a:ext>
              </a:extLst>
            </p:cNvPr>
            <p:cNvSpPr txBox="1"/>
            <p:nvPr/>
          </p:nvSpPr>
          <p:spPr>
            <a:xfrm>
              <a:off x="2533506" y="1744743"/>
              <a:ext cx="3200400" cy="3637496"/>
            </a:xfrm>
            <a:prstGeom prst="roundRect">
              <a:avLst>
                <a:gd name="adj" fmla="val 4993"/>
              </a:avLst>
            </a:prstGeom>
            <a:solidFill>
              <a:schemeClr val="tx2"/>
            </a:solidFill>
          </p:spPr>
          <p:txBody>
            <a:bodyPr rot="0" spcFirstLastPara="0" vertOverflow="overflow" horzOverflow="overflow" vert="horz" wrap="square" lIns="182880" tIns="1554480" rIns="182880" bIns="18288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2400" b="1" i="0" u="none" strike="noStrike" kern="1200" cap="none" spc="0" normalizeH="0" baseline="0" noProof="0">
                  <a:ln>
                    <a:noFill/>
                  </a:ln>
                  <a:solidFill>
                    <a:srgbClr val="F7F7F7"/>
                  </a:solidFill>
                  <a:effectLst/>
                  <a:uLnTx/>
                  <a:uFillTx/>
                  <a:latin typeface="Montserrat Medium" pitchFamily="2" charset="77"/>
                  <a:ea typeface="+mn-ea"/>
                  <a:cs typeface="+mn-cs"/>
                </a:rPr>
                <a:t>Anti-Virus</a:t>
              </a: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Signature-based</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Reactive</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File scanning</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Warnings</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p:txBody>
        </p:sp>
        <p:sp>
          <p:nvSpPr>
            <p:cNvPr id="14" name="Oval 13">
              <a:extLst>
                <a:ext uri="{FF2B5EF4-FFF2-40B4-BE49-F238E27FC236}">
                  <a16:creationId xmlns:a16="http://schemas.microsoft.com/office/drawing/2014/main" id="{3C7E77F3-4FE1-E215-A5CD-68AA8D87437E}"/>
                </a:ext>
              </a:extLst>
            </p:cNvPr>
            <p:cNvSpPr/>
            <p:nvPr/>
          </p:nvSpPr>
          <p:spPr>
            <a:xfrm>
              <a:off x="3548687" y="2016648"/>
              <a:ext cx="1170038" cy="11700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7F7F7"/>
                </a:solidFill>
                <a:effectLst/>
                <a:uLnTx/>
                <a:uFillTx/>
                <a:latin typeface="Montserrat"/>
                <a:ea typeface="+mn-ea"/>
                <a:cs typeface="+mn-cs"/>
              </a:endParaRPr>
            </a:p>
          </p:txBody>
        </p:sp>
        <p:pic>
          <p:nvPicPr>
            <p:cNvPr id="15" name="Picture 14">
              <a:extLst>
                <a:ext uri="{FF2B5EF4-FFF2-40B4-BE49-F238E27FC236}">
                  <a16:creationId xmlns:a16="http://schemas.microsoft.com/office/drawing/2014/main" id="{034B28D1-61E0-DD33-278D-2BFC75CA1689}"/>
                </a:ext>
              </a:extLst>
            </p:cNvPr>
            <p:cNvPicPr>
              <a:picLocks noChangeAspect="1"/>
            </p:cNvPicPr>
            <p:nvPr/>
          </p:nvPicPr>
          <p:blipFill>
            <a:blip r:embed="rId6"/>
            <a:stretch>
              <a:fillRect/>
            </a:stretch>
          </p:blipFill>
          <p:spPr>
            <a:xfrm>
              <a:off x="3845070" y="2243758"/>
              <a:ext cx="577273" cy="715818"/>
            </a:xfrm>
            <a:prstGeom prst="rect">
              <a:avLst/>
            </a:prstGeom>
          </p:spPr>
        </p:pic>
      </p:grpSp>
      <p:grpSp>
        <p:nvGrpSpPr>
          <p:cNvPr id="4" name="Group 3">
            <a:extLst>
              <a:ext uri="{FF2B5EF4-FFF2-40B4-BE49-F238E27FC236}">
                <a16:creationId xmlns:a16="http://schemas.microsoft.com/office/drawing/2014/main" id="{7FF98855-2517-4A91-BF7F-561777AA9094}"/>
              </a:ext>
            </a:extLst>
          </p:cNvPr>
          <p:cNvGrpSpPr/>
          <p:nvPr/>
        </p:nvGrpSpPr>
        <p:grpSpPr>
          <a:xfrm>
            <a:off x="6479121" y="2305460"/>
            <a:ext cx="3310994" cy="3741657"/>
            <a:chOff x="6435989" y="1744743"/>
            <a:chExt cx="3310994" cy="3741657"/>
          </a:xfrm>
        </p:grpSpPr>
        <p:sp>
          <p:nvSpPr>
            <p:cNvPr id="13" name="TextBox 12">
              <a:extLst>
                <a:ext uri="{FF2B5EF4-FFF2-40B4-BE49-F238E27FC236}">
                  <a16:creationId xmlns:a16="http://schemas.microsoft.com/office/drawing/2014/main" id="{79C75756-E94E-3326-BC20-1C2EA0244E29}"/>
                </a:ext>
              </a:extLst>
            </p:cNvPr>
            <p:cNvSpPr txBox="1"/>
            <p:nvPr/>
          </p:nvSpPr>
          <p:spPr>
            <a:xfrm>
              <a:off x="6435989" y="1848904"/>
              <a:ext cx="3200400" cy="3637496"/>
            </a:xfrm>
            <a:prstGeom prst="roundRect">
              <a:avLst>
                <a:gd name="adj" fmla="val 4685"/>
              </a:avLst>
            </a:prstGeom>
            <a:pattFill prst="wdUpDiag">
              <a:fgClr>
                <a:schemeClr val="accent2">
                  <a:lumMod val="60000"/>
                  <a:lumOff val="40000"/>
                </a:schemeClr>
              </a:fgClr>
              <a:bgClr>
                <a:schemeClr val="bg2"/>
              </a:bgClr>
            </a:pattFill>
          </p:spPr>
          <p:txBody>
            <a:bodyPr rot="0" spcFirstLastPara="0" vertOverflow="overflow" horzOverflow="overflow" vert="horz" wrap="square" lIns="182880" tIns="1188720" rIns="182880" bIns="18288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p:txBody>
        </p:sp>
        <p:sp>
          <p:nvSpPr>
            <p:cNvPr id="5" name="TextBox 4">
              <a:extLst>
                <a:ext uri="{FF2B5EF4-FFF2-40B4-BE49-F238E27FC236}">
                  <a16:creationId xmlns:a16="http://schemas.microsoft.com/office/drawing/2014/main" id="{088B87BB-5405-F65A-4B4E-51C32AB32CB6}"/>
                </a:ext>
              </a:extLst>
            </p:cNvPr>
            <p:cNvSpPr txBox="1"/>
            <p:nvPr/>
          </p:nvSpPr>
          <p:spPr>
            <a:xfrm>
              <a:off x="6546583" y="1744743"/>
              <a:ext cx="3200400" cy="3637496"/>
            </a:xfrm>
            <a:prstGeom prst="roundRect">
              <a:avLst>
                <a:gd name="adj" fmla="val 4378"/>
              </a:avLst>
            </a:prstGeom>
            <a:solidFill>
              <a:srgbClr val="0996C9"/>
            </a:solidFill>
          </p:spPr>
          <p:txBody>
            <a:bodyPr rot="0" spcFirstLastPara="0" vertOverflow="overflow" horzOverflow="overflow" vert="horz" wrap="square" lIns="182880" tIns="1554480" rIns="182880" bIns="18288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2400" b="1" i="0" u="none" strike="noStrike" kern="1200" cap="none" spc="0" normalizeH="0" baseline="0" noProof="0">
                  <a:ln>
                    <a:noFill/>
                  </a:ln>
                  <a:solidFill>
                    <a:srgbClr val="F7F7F7"/>
                  </a:solidFill>
                  <a:effectLst/>
                  <a:uLnTx/>
                  <a:uFillTx/>
                  <a:latin typeface="Montserrat Medium" pitchFamily="2" charset="77"/>
                  <a:ea typeface="+mn-ea"/>
                  <a:cs typeface="+mn-cs"/>
                </a:rPr>
                <a:t>EDR</a:t>
              </a: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Real-time threat detection</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Behavior-based</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Automated remediation</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a:p>
              <a:pPr marL="174625" marR="0" lvl="0" indent="-174625" algn="l" defTabSz="914400" rtl="0" eaLnBrk="0" fontAlgn="base" latinLnBrk="0" hangingPunct="0">
                <a:lnSpc>
                  <a:spcPct val="150000"/>
                </a:lnSpc>
                <a:spcBef>
                  <a:spcPct val="0"/>
                </a:spcBef>
                <a:spcAft>
                  <a:spcPct val="0"/>
                </a:spcAft>
                <a:buClrTx/>
                <a:buSzTx/>
                <a:buFont typeface="Arial"/>
                <a:buChar char="•"/>
                <a:tabLst/>
                <a:defRPr/>
              </a:pPr>
              <a:r>
                <a:rPr kumimoji="0" lang="en-US" sz="1400" b="0" i="0" u="none" strike="noStrike" kern="1200" cap="none" spc="0" normalizeH="0" baseline="0" noProof="0">
                  <a:ln>
                    <a:noFill/>
                  </a:ln>
                  <a:solidFill>
                    <a:srgbClr val="F7F7F7"/>
                  </a:solidFill>
                  <a:effectLst/>
                  <a:uLnTx/>
                  <a:uFillTx/>
                  <a:latin typeface="Montserrat"/>
                  <a:ea typeface="+mn-ea"/>
                  <a:cs typeface="+mn-cs"/>
                </a:rPr>
                <a:t>Forensic capable</a:t>
              </a:r>
              <a:endParaRPr kumimoji="0" lang="en-US" sz="1400" b="0" i="0" u="none" strike="noStrike" kern="1200" cap="none" spc="0" normalizeH="0" baseline="0" noProof="0">
                <a:ln>
                  <a:noFill/>
                </a:ln>
                <a:solidFill>
                  <a:srgbClr val="F7F7F7"/>
                </a:solidFill>
                <a:effectLst/>
                <a:uLnTx/>
                <a:uFillTx/>
                <a:latin typeface="Montserrat" charset="0"/>
                <a:ea typeface="+mn-ea"/>
                <a:cs typeface="Arial"/>
              </a:endParaRPr>
            </a:p>
          </p:txBody>
        </p:sp>
        <p:sp>
          <p:nvSpPr>
            <p:cNvPr id="19" name="Oval 18">
              <a:extLst>
                <a:ext uri="{FF2B5EF4-FFF2-40B4-BE49-F238E27FC236}">
                  <a16:creationId xmlns:a16="http://schemas.microsoft.com/office/drawing/2014/main" id="{6B2B5857-E484-BE24-11FF-1FD86C3DBBC4}"/>
                </a:ext>
              </a:extLst>
            </p:cNvPr>
            <p:cNvSpPr/>
            <p:nvPr/>
          </p:nvSpPr>
          <p:spPr>
            <a:xfrm>
              <a:off x="7561764" y="2013495"/>
              <a:ext cx="1170038" cy="117003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7F7F7"/>
                </a:solidFill>
                <a:effectLst/>
                <a:uLnTx/>
                <a:uFillTx/>
                <a:latin typeface="Montserrat"/>
                <a:ea typeface="+mn-ea"/>
                <a:cs typeface="+mn-cs"/>
              </a:endParaRPr>
            </a:p>
          </p:txBody>
        </p:sp>
        <p:pic>
          <p:nvPicPr>
            <p:cNvPr id="20" name="Picture 19">
              <a:extLst>
                <a:ext uri="{FF2B5EF4-FFF2-40B4-BE49-F238E27FC236}">
                  <a16:creationId xmlns:a16="http://schemas.microsoft.com/office/drawing/2014/main" id="{5F312AE4-F502-BB49-D72F-06CC1258744D}"/>
                </a:ext>
              </a:extLst>
            </p:cNvPr>
            <p:cNvPicPr>
              <a:picLocks noChangeAspect="1"/>
            </p:cNvPicPr>
            <p:nvPr/>
          </p:nvPicPr>
          <p:blipFill>
            <a:blip r:embed="rId7"/>
            <a:stretch>
              <a:fillRect/>
            </a:stretch>
          </p:blipFill>
          <p:spPr>
            <a:xfrm>
              <a:off x="7821411" y="2206911"/>
              <a:ext cx="650744" cy="724215"/>
            </a:xfrm>
            <a:prstGeom prst="rect">
              <a:avLst/>
            </a:prstGeom>
          </p:spPr>
        </p:pic>
      </p:grpSp>
      <p:sp>
        <p:nvSpPr>
          <p:cNvPr id="17" name="TextBox 16">
            <a:extLst>
              <a:ext uri="{FF2B5EF4-FFF2-40B4-BE49-F238E27FC236}">
                <a16:creationId xmlns:a16="http://schemas.microsoft.com/office/drawing/2014/main" id="{D513F3CD-696C-133F-3B90-4AE39E3C2769}"/>
              </a:ext>
            </a:extLst>
          </p:cNvPr>
          <p:cNvSpPr txBox="1"/>
          <p:nvPr/>
        </p:nvSpPr>
        <p:spPr>
          <a:xfrm>
            <a:off x="2654061" y="1719533"/>
            <a:ext cx="655319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D61FF"/>
                </a:solidFill>
                <a:effectLst/>
                <a:uLnTx/>
                <a:uFillTx/>
                <a:latin typeface="Montserrat Light"/>
                <a:ea typeface="+mn-ea"/>
                <a:cs typeface="+mn-cs"/>
              </a:rPr>
              <a:t>Anti-Virus         vs.            EDR​</a:t>
            </a: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Tree>
    <p:extLst>
      <p:ext uri="{BB962C8B-B14F-4D97-AF65-F5344CB8AC3E}">
        <p14:creationId xmlns:p14="http://schemas.microsoft.com/office/powerpoint/2010/main" val="319532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accel="50000" decel="5000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50" fill="hold"/>
                                        <p:tgtEl>
                                          <p:spTgt spid="2"/>
                                        </p:tgtEl>
                                        <p:attrNameLst>
                                          <p:attrName>ppt_x</p:attrName>
                                        </p:attrNameLst>
                                      </p:cBhvr>
                                      <p:tavLst>
                                        <p:tav tm="0">
                                          <p:val>
                                            <p:strVal val="0-#ppt_w/2"/>
                                          </p:val>
                                        </p:tav>
                                        <p:tav tm="100000">
                                          <p:val>
                                            <p:strVal val="#ppt_x"/>
                                          </p:val>
                                        </p:tav>
                                      </p:tavLst>
                                    </p:anim>
                                    <p:anim calcmode="lin" valueType="num">
                                      <p:cBhvr additive="base">
                                        <p:cTn id="8" dur="25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accel="50000" decel="5000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250" fill="hold"/>
                                        <p:tgtEl>
                                          <p:spTgt spid="4"/>
                                        </p:tgtEl>
                                        <p:attrNameLst>
                                          <p:attrName>ppt_x</p:attrName>
                                        </p:attrNameLst>
                                      </p:cBhvr>
                                      <p:tavLst>
                                        <p:tav tm="0">
                                          <p:val>
                                            <p:strVal val="1+#ppt_w/2"/>
                                          </p:val>
                                        </p:tav>
                                        <p:tav tm="100000">
                                          <p:val>
                                            <p:strVal val="#ppt_x"/>
                                          </p:val>
                                        </p:tav>
                                      </p:tavLst>
                                    </p:anim>
                                    <p:anim calcmode="lin" valueType="num">
                                      <p:cBhvr additive="base">
                                        <p:cTn id="14" dur="250" fill="hold"/>
                                        <p:tgtEl>
                                          <p:spTgt spid="4"/>
                                        </p:tgtEl>
                                        <p:attrNameLst>
                                          <p:attrName>ppt_y</p:attrName>
                                        </p:attrNameLst>
                                      </p:cBhvr>
                                      <p:tavLst>
                                        <p:tav tm="0">
                                          <p:val>
                                            <p:strVal val="#ppt_y"/>
                                          </p:val>
                                        </p:tav>
                                        <p:tav tm="100000">
                                          <p:val>
                                            <p:strVal val="#ppt_y"/>
                                          </p:val>
                                        </p:tav>
                                      </p:tavLst>
                                    </p:anim>
                                  </p:childTnLst>
                                </p:cTn>
                              </p:par>
                              <p:par>
                                <p:cTn id="15" presetID="16" presetClass="entr" presetSubtype="42"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barn(outHorizontal)">
                                      <p:cBhvr>
                                        <p:cTn id="17"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5E98E6A-21A8-9B60-05AE-702104D05ACE}"/>
              </a:ext>
            </a:extLst>
          </p:cNvPr>
          <p:cNvSpPr>
            <a:spLocks noGrp="1"/>
          </p:cNvSpPr>
          <p:nvPr>
            <p:ph type="title"/>
          </p:nvPr>
        </p:nvSpPr>
        <p:spPr>
          <a:xfrm>
            <a:off x="429488" y="685800"/>
            <a:ext cx="11305312" cy="822960"/>
          </a:xfrm>
        </p:spPr>
        <p:txBody>
          <a:bodyPr/>
          <a:lstStyle/>
          <a:p>
            <a:r>
              <a:rPr lang="en-US" dirty="0"/>
              <a:t>MDR Features</a:t>
            </a:r>
          </a:p>
        </p:txBody>
      </p:sp>
      <p:sp>
        <p:nvSpPr>
          <p:cNvPr id="14" name="Text Placeholder 3">
            <a:extLst>
              <a:ext uri="{FF2B5EF4-FFF2-40B4-BE49-F238E27FC236}">
                <a16:creationId xmlns:a16="http://schemas.microsoft.com/office/drawing/2014/main" id="{99A13E0E-4D99-244E-D3FC-6ECB5A0485DA}"/>
              </a:ext>
            </a:extLst>
          </p:cNvPr>
          <p:cNvSpPr>
            <a:spLocks noGrp="1"/>
          </p:cNvSpPr>
          <p:nvPr>
            <p:ph type="body" sz="quarter" idx="13"/>
          </p:nvPr>
        </p:nvSpPr>
        <p:spPr>
          <a:xfrm>
            <a:off x="457317" y="411480"/>
            <a:ext cx="6400800" cy="182880"/>
          </a:xfrm>
        </p:spPr>
        <p:txBody>
          <a:bodyPr/>
          <a:lstStyle/>
          <a:p>
            <a:endParaRPr lang="en-US"/>
          </a:p>
        </p:txBody>
      </p:sp>
      <p:graphicFrame>
        <p:nvGraphicFramePr>
          <p:cNvPr id="7" name="Content Placeholder 6">
            <a:extLst>
              <a:ext uri="{FF2B5EF4-FFF2-40B4-BE49-F238E27FC236}">
                <a16:creationId xmlns:a16="http://schemas.microsoft.com/office/drawing/2014/main" id="{5337603B-8A3C-A768-DA90-BE94F2769860}"/>
              </a:ext>
            </a:extLst>
          </p:cNvPr>
          <p:cNvGraphicFramePr>
            <a:graphicFrameLocks noGrp="1"/>
          </p:cNvGraphicFramePr>
          <p:nvPr>
            <p:ph idx="1"/>
          </p:nvPr>
        </p:nvGraphicFramePr>
        <p:xfrm>
          <a:off x="444500" y="1275127"/>
          <a:ext cx="11276014" cy="4626560"/>
        </p:xfrm>
        <a:graphic>
          <a:graphicData uri="http://schemas.openxmlformats.org/drawingml/2006/table">
            <a:tbl>
              <a:tblPr/>
              <a:tblGrid>
                <a:gridCol w="4749140">
                  <a:extLst>
                    <a:ext uri="{9D8B030D-6E8A-4147-A177-3AD203B41FA5}">
                      <a16:colId xmlns:a16="http://schemas.microsoft.com/office/drawing/2014/main" val="3903635776"/>
                    </a:ext>
                  </a:extLst>
                </a:gridCol>
                <a:gridCol w="281916">
                  <a:extLst>
                    <a:ext uri="{9D8B030D-6E8A-4147-A177-3AD203B41FA5}">
                      <a16:colId xmlns:a16="http://schemas.microsoft.com/office/drawing/2014/main" val="76742303"/>
                    </a:ext>
                  </a:extLst>
                </a:gridCol>
                <a:gridCol w="6244958">
                  <a:extLst>
                    <a:ext uri="{9D8B030D-6E8A-4147-A177-3AD203B41FA5}">
                      <a16:colId xmlns:a16="http://schemas.microsoft.com/office/drawing/2014/main" val="3655984210"/>
                    </a:ext>
                  </a:extLst>
                </a:gridCol>
              </a:tblGrid>
              <a:tr h="339724">
                <a:tc>
                  <a:txBody>
                    <a:bodyPr/>
                    <a:lstStyle/>
                    <a:p>
                      <a:pPr algn="l" rtl="0" fontAlgn="ctr"/>
                      <a:r>
                        <a:rPr lang="en-US" sz="900" u="none" strike="noStrike" dirty="0">
                          <a:solidFill>
                            <a:schemeClr val="accent1"/>
                          </a:solidFill>
                          <a:effectLst/>
                        </a:rPr>
                        <a:t>Log Management and Search</a:t>
                      </a:r>
                      <a:endParaRPr lang="en-US" sz="900" b="0" i="0" u="none" strike="noStrike" dirty="0">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Analyze the most complex data and find insights faster with InsightIDR’s cloud-native data lake, diverse log collection capabilities, custom log parsing, and flexible search and reporting.</a:t>
                      </a:r>
                      <a:endParaRPr lang="en-US" sz="900" b="0" i="0" u="none" strike="noStrike">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449116297"/>
                  </a:ext>
                </a:extLst>
              </a:tr>
              <a:tr h="339724">
                <a:tc>
                  <a:txBody>
                    <a:bodyPr/>
                    <a:lstStyle/>
                    <a:p>
                      <a:pPr algn="l" rtl="0" fontAlgn="ctr"/>
                      <a:r>
                        <a:rPr lang="en-US" sz="900" u="none" strike="noStrike" dirty="0">
                          <a:solidFill>
                            <a:schemeClr val="accent1"/>
                          </a:solidFill>
                          <a:effectLst/>
                        </a:rPr>
                        <a:t>Dashboards and Reporting</a:t>
                      </a:r>
                      <a:endParaRPr lang="en-US" sz="900" b="0" i="0" u="none" strike="noStrike" dirty="0">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solidFill>
                            <a:schemeClr val="accent4">
                              <a:lumMod val="75000"/>
                            </a:schemeClr>
                          </a:solidFill>
                          <a:effectLst/>
                        </a:rPr>
                        <a:t>Access pre-built dashboards and reports out-of-the-box or create your own custom ones to best suit your organization’s needs.</a:t>
                      </a:r>
                      <a:endParaRPr lang="en-US" sz="900" b="0" i="0" u="none" strike="noStrike" dirty="0">
                        <a:solidFill>
                          <a:schemeClr val="accent4">
                            <a:lumMod val="75000"/>
                          </a:schemeClr>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3464649189"/>
                  </a:ext>
                </a:extLst>
              </a:tr>
              <a:tr h="339724">
                <a:tc>
                  <a:txBody>
                    <a:bodyPr/>
                    <a:lstStyle/>
                    <a:p>
                      <a:pPr algn="l" rtl="0" fontAlgn="ctr"/>
                      <a:r>
                        <a:rPr lang="en-US" sz="900" u="none" strike="noStrike">
                          <a:solidFill>
                            <a:schemeClr val="accent1"/>
                          </a:solidFill>
                          <a:effectLst/>
                        </a:rPr>
                        <a:t>Investigation Console</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View your aggregated alert data in InsightIDR’s ​​investigations console to quickly search your active investigations and gather the context you need to effectively prioritize, sort, and respond to alerts.</a:t>
                      </a:r>
                      <a:endParaRPr lang="en-US" sz="900" b="0" i="0" u="none" strike="noStrike">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2501859787"/>
                  </a:ext>
                </a:extLst>
              </a:tr>
              <a:tr h="489370">
                <a:tc>
                  <a:txBody>
                    <a:bodyPr/>
                    <a:lstStyle/>
                    <a:p>
                      <a:pPr algn="l" rtl="0" fontAlgn="ctr"/>
                      <a:r>
                        <a:rPr lang="en-US" sz="900" u="none" strike="noStrike">
                          <a:solidFill>
                            <a:schemeClr val="accent1"/>
                          </a:solidFill>
                          <a:effectLst/>
                        </a:rPr>
                        <a:t>File Integrity Monitoring (FIM)</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effectLst/>
                        </a:rPr>
                        <a:t>Collect File Integrity Monitoring events with the Insight Agent so </a:t>
                      </a:r>
                      <a:r>
                        <a:rPr lang="en-US" sz="900" u="none" strike="noStrike" dirty="0" err="1">
                          <a:effectLst/>
                        </a:rPr>
                        <a:t>InsightIDR</a:t>
                      </a:r>
                      <a:r>
                        <a:rPr lang="en-US" sz="900" u="none" strike="noStrike" dirty="0">
                          <a:effectLst/>
                        </a:rPr>
                        <a:t> can attribute users to file modification activity. You can then create alerts based on certain file log events to notify you when one of your users modifies a critical file or folder.  Compliments existing FIM Tools.</a:t>
                      </a:r>
                      <a:endParaRPr lang="en-US" sz="900" b="0" i="0" u="none" strike="noStrike" dirty="0">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2848371887"/>
                  </a:ext>
                </a:extLst>
              </a:tr>
              <a:tr h="291011">
                <a:tc>
                  <a:txBody>
                    <a:bodyPr/>
                    <a:lstStyle/>
                    <a:p>
                      <a:pPr algn="l" rtl="0" fontAlgn="ctr"/>
                      <a:r>
                        <a:rPr lang="en-US" sz="900" u="none" strike="noStrike">
                          <a:solidFill>
                            <a:schemeClr val="accent1"/>
                          </a:solidFill>
                          <a:effectLst/>
                        </a:rPr>
                        <a:t>Intrusion Detection System (IDS) &amp; Network Traffic Monitoring</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solidFill>
                            <a:schemeClr val="accent4">
                              <a:lumMod val="75000"/>
                            </a:schemeClr>
                          </a:solidFill>
                          <a:effectLst/>
                        </a:rPr>
                        <a:t>Monitor for malicious activity and policy violations on your network with an Intrusion Detection System (IDS) device.</a:t>
                      </a:r>
                      <a:endParaRPr lang="en-US" sz="900" b="0" i="0" u="none" strike="noStrike" dirty="0">
                        <a:solidFill>
                          <a:schemeClr val="accent4">
                            <a:lumMod val="75000"/>
                          </a:schemeClr>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3678561477"/>
                  </a:ext>
                </a:extLst>
              </a:tr>
              <a:tr h="639017">
                <a:tc>
                  <a:txBody>
                    <a:bodyPr/>
                    <a:lstStyle/>
                    <a:p>
                      <a:pPr algn="l" rtl="0" fontAlgn="ctr"/>
                      <a:r>
                        <a:rPr lang="en-US" sz="900" u="none" strike="noStrike">
                          <a:solidFill>
                            <a:schemeClr val="accent1"/>
                          </a:solidFill>
                          <a:effectLst/>
                        </a:rPr>
                        <a:t>Curated Threat Detections Library</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effectLst/>
                        </a:rPr>
                        <a:t>Leverage </a:t>
                      </a:r>
                      <a:r>
                        <a:rPr lang="en-US" sz="900" u="none" strike="noStrike" dirty="0" err="1">
                          <a:effectLst/>
                        </a:rPr>
                        <a:t>InsightIDR’s</a:t>
                      </a:r>
                      <a:r>
                        <a:rPr lang="en-US" sz="900" u="none" strike="noStrike" dirty="0">
                          <a:effectLst/>
                        </a:rPr>
                        <a:t> curated threat detections managed by Comcast &amp; Rapid7’s threat intelligence teams. Capitalizing on our open-source community engagement, spanning known and unknown threats, and utilizing advanced attack surface mapping and proprietary machine learning, </a:t>
                      </a:r>
                      <a:r>
                        <a:rPr lang="en-US" sz="900" u="none" strike="noStrike" dirty="0" err="1">
                          <a:effectLst/>
                        </a:rPr>
                        <a:t>InsightIDR</a:t>
                      </a:r>
                      <a:r>
                        <a:rPr lang="en-US" sz="900" u="none" strike="noStrike" dirty="0">
                          <a:effectLst/>
                        </a:rPr>
                        <a:t> offers you wide threat coverage across your environment. </a:t>
                      </a:r>
                      <a:endParaRPr lang="en-US" sz="900" b="0" i="0" u="none" strike="noStrike" dirty="0">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2436124465"/>
                  </a:ext>
                </a:extLst>
              </a:tr>
              <a:tr h="339724">
                <a:tc>
                  <a:txBody>
                    <a:bodyPr/>
                    <a:lstStyle/>
                    <a:p>
                      <a:pPr algn="l" rtl="0" fontAlgn="ctr"/>
                      <a:r>
                        <a:rPr lang="en-US" sz="900" u="none" strike="noStrike">
                          <a:solidFill>
                            <a:schemeClr val="accent1"/>
                          </a:solidFill>
                          <a:effectLst/>
                        </a:rPr>
                        <a:t>Attacker Behavior Analytics (ABA)</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solidFill>
                            <a:schemeClr val="accent4">
                              <a:lumMod val="75000"/>
                            </a:schemeClr>
                          </a:solidFill>
                          <a:effectLst/>
                        </a:rPr>
                        <a:t>Hunt for unique attacker behavior with ABA detection rules. With our ever-growing detection library, you’ll be covered against even the newest of threats.</a:t>
                      </a:r>
                      <a:endParaRPr lang="en-US" sz="900" b="0" i="0" u="none" strike="noStrike" dirty="0">
                        <a:solidFill>
                          <a:schemeClr val="accent4">
                            <a:lumMod val="75000"/>
                          </a:schemeClr>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758841067"/>
                  </a:ext>
                </a:extLst>
              </a:tr>
              <a:tr h="339724">
                <a:tc>
                  <a:txBody>
                    <a:bodyPr/>
                    <a:lstStyle/>
                    <a:p>
                      <a:pPr algn="l" rtl="0" fontAlgn="ctr"/>
                      <a:r>
                        <a:rPr lang="en-US" sz="900" u="none" strike="noStrike">
                          <a:solidFill>
                            <a:schemeClr val="accent1"/>
                          </a:solidFill>
                          <a:effectLst/>
                        </a:rPr>
                        <a:t>User and Entity Behavior Analytics (UEBA)</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Identify compromised credentials, lateral movement, and other malicious behaviors with User Behavior Analytics detections.</a:t>
                      </a:r>
                      <a:endParaRPr lang="en-US" sz="900" b="0" i="0" u="none" strike="noStrike">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3446487694"/>
                  </a:ext>
                </a:extLst>
              </a:tr>
              <a:tr h="339724">
                <a:tc>
                  <a:txBody>
                    <a:bodyPr/>
                    <a:lstStyle/>
                    <a:p>
                      <a:pPr algn="l" rtl="0" fontAlgn="ctr"/>
                      <a:r>
                        <a:rPr lang="en-US" sz="900" u="none" strike="noStrike">
                          <a:solidFill>
                            <a:schemeClr val="accent1"/>
                          </a:solidFill>
                          <a:effectLst/>
                        </a:rPr>
                        <a:t>Deception Technology</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solidFill>
                            <a:schemeClr val="accent4">
                              <a:lumMod val="75000"/>
                            </a:schemeClr>
                          </a:solidFill>
                          <a:effectLst/>
                        </a:rPr>
                        <a:t>Deploy deception technology in the form of honeypots, honey files, honey users, and honey credentials to learn how attackers are attempting to access your systems.</a:t>
                      </a:r>
                      <a:endParaRPr lang="en-US" sz="900" b="0" i="0" u="none" strike="noStrike" dirty="0">
                        <a:solidFill>
                          <a:schemeClr val="accent4">
                            <a:lumMod val="75000"/>
                          </a:schemeClr>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2093274881"/>
                  </a:ext>
                </a:extLst>
              </a:tr>
              <a:tr h="339724">
                <a:tc>
                  <a:txBody>
                    <a:bodyPr/>
                    <a:lstStyle/>
                    <a:p>
                      <a:pPr algn="l" rtl="0" fontAlgn="ctr"/>
                      <a:r>
                        <a:rPr lang="en-US" sz="900" u="none" strike="noStrike">
                          <a:solidFill>
                            <a:schemeClr val="accent1"/>
                          </a:solidFill>
                          <a:effectLst/>
                        </a:rPr>
                        <a:t>Enhanced Endpoint Telemetry</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Unlock comprehensive attack details, proactively hunt for threats, and tailor custom alerts to align your specific security policies and standards with Enhanced Endpoint Telemetry.</a:t>
                      </a:r>
                      <a:endParaRPr lang="en-US" sz="900" b="0" i="0" u="none" strike="noStrike">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2906297440"/>
                  </a:ext>
                </a:extLst>
              </a:tr>
              <a:tr h="489370">
                <a:tc>
                  <a:txBody>
                    <a:bodyPr/>
                    <a:lstStyle/>
                    <a:p>
                      <a:pPr algn="l" rtl="0" fontAlgn="ctr"/>
                      <a:r>
                        <a:rPr lang="en-US" sz="900" u="none" strike="noStrike">
                          <a:solidFill>
                            <a:schemeClr val="accent1"/>
                          </a:solidFill>
                          <a:effectLst/>
                        </a:rPr>
                        <a:t>Enhanced Network Traffic Analysis</a:t>
                      </a:r>
                      <a:endParaRPr lang="en-US" sz="900" b="0" i="0" u="none" strike="noStrike">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solidFill>
                            <a:schemeClr val="accent4">
                              <a:lumMod val="75000"/>
                            </a:schemeClr>
                          </a:solidFill>
                          <a:effectLst/>
                        </a:rPr>
                        <a:t>Access raw network flow data and rich metadata collected by the Insight Network Sensor with Enhanced Network Traffic Analysis. This metadata includes IP addresses, ports, content-based application recognition, and metadata attributed to specific users and devices.</a:t>
                      </a:r>
                      <a:endParaRPr lang="en-US" sz="900" b="0" i="0" u="none" strike="noStrike" dirty="0">
                        <a:solidFill>
                          <a:schemeClr val="accent4">
                            <a:lumMod val="75000"/>
                          </a:schemeClr>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5750103"/>
                  </a:ext>
                </a:extLst>
              </a:tr>
              <a:tr h="339724">
                <a:tc>
                  <a:txBody>
                    <a:bodyPr/>
                    <a:lstStyle/>
                    <a:p>
                      <a:pPr algn="l" rtl="0" fontAlgn="ctr"/>
                      <a:r>
                        <a:rPr lang="en-US" sz="900" u="none" strike="noStrike" dirty="0">
                          <a:solidFill>
                            <a:schemeClr val="accent1"/>
                          </a:solidFill>
                          <a:effectLst/>
                        </a:rPr>
                        <a:t>Core Automated Response Workflows</a:t>
                      </a:r>
                      <a:endParaRPr lang="en-US" sz="900" b="0" i="0" u="none" strike="noStrike" dirty="0">
                        <a:solidFill>
                          <a:schemeClr val="accent1"/>
                        </a:solidFill>
                        <a:effectLst/>
                        <a:latin typeface="Montserrat" panose="00000500000000000000" pitchFamily="2" charset="0"/>
                      </a:endParaRPr>
                    </a:p>
                  </a:txBody>
                  <a:tcPr marL="4323" marR="4323" marT="4323" marB="0" anchor="ctr"/>
                </a:tc>
                <a:tc>
                  <a:txBody>
                    <a:bodyPr/>
                    <a:lstStyle/>
                    <a:p>
                      <a:pPr algn="l" rtl="0" fontAlgn="ctr"/>
                      <a:r>
                        <a:rPr lang="en-US" sz="900" u="none" strike="noStrike">
                          <a:effectLst/>
                        </a:rPr>
                        <a:t> </a:t>
                      </a:r>
                      <a:endParaRPr lang="en-US" sz="900" b="0" i="0" u="none" strike="noStrike">
                        <a:solidFill>
                          <a:srgbClr val="0D61FF"/>
                        </a:solidFill>
                        <a:effectLst/>
                        <a:latin typeface="Montserrat" panose="00000500000000000000" pitchFamily="2" charset="0"/>
                      </a:endParaRPr>
                    </a:p>
                  </a:txBody>
                  <a:tcPr marL="4323" marR="4323" marT="4323" marB="0" anchor="ctr"/>
                </a:tc>
                <a:tc>
                  <a:txBody>
                    <a:bodyPr/>
                    <a:lstStyle/>
                    <a:p>
                      <a:pPr algn="l" rtl="0" fontAlgn="ctr"/>
                      <a:r>
                        <a:rPr lang="en-US" sz="900" u="none" strike="noStrike" dirty="0">
                          <a:effectLst/>
                        </a:rPr>
                        <a:t>Respond quickly and confidently with automated out-of-the-box workflows, including endpoint containment, Insight Agent containment, and more.</a:t>
                      </a:r>
                      <a:endParaRPr lang="en-US" sz="900" b="0" i="0" u="none" strike="noStrike" dirty="0">
                        <a:solidFill>
                          <a:srgbClr val="000000"/>
                        </a:solidFill>
                        <a:effectLst/>
                        <a:latin typeface="Montserrat" panose="00000500000000000000" pitchFamily="2" charset="0"/>
                      </a:endParaRPr>
                    </a:p>
                  </a:txBody>
                  <a:tcPr marL="4323" marR="4323" marT="4323" marB="0" anchor="ctr"/>
                </a:tc>
                <a:extLst>
                  <a:ext uri="{0D108BD9-81ED-4DB2-BD59-A6C34878D82A}">
                    <a16:rowId xmlns:a16="http://schemas.microsoft.com/office/drawing/2014/main" val="3838272797"/>
                  </a:ext>
                </a:extLst>
              </a:tr>
            </a:tbl>
          </a:graphicData>
        </a:graphic>
      </p:graphicFrame>
    </p:spTree>
    <p:extLst>
      <p:ext uri="{BB962C8B-B14F-4D97-AF65-F5344CB8AC3E}">
        <p14:creationId xmlns:p14="http://schemas.microsoft.com/office/powerpoint/2010/main" val="504954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mcast Business">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CB-PPT_Template_16x9_Viz-ID_fontembed_2023" id="{0C226122-73BA-4C9D-8497-C53AB85786D2}" vid="{12A622D2-C5CC-4977-BE37-02062FC045A5}"/>
    </a:ext>
  </a:extLst>
</a:theme>
</file>

<file path=ppt/theme/theme2.xml><?xml version="1.0" encoding="utf-8"?>
<a:theme xmlns:a="http://schemas.openxmlformats.org/drawingml/2006/main" name="Theme1">
  <a:themeElements>
    <a:clrScheme name="Comcast_Biz_Colors">
      <a:dk1>
        <a:srgbClr val="000000"/>
      </a:dk1>
      <a:lt1>
        <a:srgbClr val="F7F7F7"/>
      </a:lt1>
      <a:dk2>
        <a:srgbClr val="112F64"/>
      </a:dk2>
      <a:lt2>
        <a:srgbClr val="FFFFFF"/>
      </a:lt2>
      <a:accent1>
        <a:srgbClr val="0D61FF"/>
      </a:accent1>
      <a:accent2>
        <a:srgbClr val="8BE1FA"/>
      </a:accent2>
      <a:accent3>
        <a:srgbClr val="7DEDB5"/>
      </a:accent3>
      <a:accent4>
        <a:srgbClr val="907BE9"/>
      </a:accent4>
      <a:accent5>
        <a:srgbClr val="F05757"/>
      </a:accent5>
      <a:accent6>
        <a:srgbClr val="FECC57"/>
      </a:accent6>
      <a:hlink>
        <a:srgbClr val="0D61FF"/>
      </a:hlink>
      <a:folHlink>
        <a:srgbClr val="112F64"/>
      </a:folHlink>
    </a:clrScheme>
    <a:fontScheme name="Comcast_Biz_fonts">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Theme1" id="{19093E9E-3A19-429C-9173-A319C14444F9}" vid="{8ED84C51-7147-4F57-B03C-E65699850694}"/>
    </a:ext>
  </a:extLst>
</a:theme>
</file>

<file path=ppt/theme/theme3.xml><?xml version="1.0" encoding="utf-8"?>
<a:theme xmlns:a="http://schemas.openxmlformats.org/drawingml/2006/main" name="5_Comcast Business">
  <a:themeElements>
    <a:clrScheme name="Comcast_Biz_Colors">
      <a:dk1>
        <a:srgbClr val="000000"/>
      </a:dk1>
      <a:lt1>
        <a:srgbClr val="F7F7F7"/>
      </a:lt1>
      <a:dk2>
        <a:srgbClr val="112F64"/>
      </a:dk2>
      <a:lt2>
        <a:srgbClr val="FFFFFF"/>
      </a:lt2>
      <a:accent1>
        <a:srgbClr val="0D61FF"/>
      </a:accent1>
      <a:accent2>
        <a:srgbClr val="8BE1FA"/>
      </a:accent2>
      <a:accent3>
        <a:srgbClr val="7DEDB5"/>
      </a:accent3>
      <a:accent4>
        <a:srgbClr val="907BE9"/>
      </a:accent4>
      <a:accent5>
        <a:srgbClr val="F05757"/>
      </a:accent5>
      <a:accent6>
        <a:srgbClr val="FECC57"/>
      </a:accent6>
      <a:hlink>
        <a:srgbClr val="0D61FF"/>
      </a:hlink>
      <a:folHlink>
        <a:srgbClr val="112F64"/>
      </a:folHlink>
    </a:clrScheme>
    <a:fontScheme name="Comcast_Biz_fonts">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Presentation2" id="{830E115D-2BCE-4E47-BD1D-B7EF14194175}" vid="{E38E23E6-0CDD-0941-BE1F-B60385C0ABEE}"/>
    </a:ext>
  </a:extLst>
</a:theme>
</file>

<file path=ppt/theme/theme4.xml><?xml version="1.0" encoding="utf-8"?>
<a:theme xmlns:a="http://schemas.openxmlformats.org/drawingml/2006/main" name="Updated_Program">
  <a:themeElements>
    <a:clrScheme name="CB2023">
      <a:dk1>
        <a:srgbClr val="000000"/>
      </a:dk1>
      <a:lt1>
        <a:srgbClr val="FFFFFF"/>
      </a:lt1>
      <a:dk2>
        <a:srgbClr val="112F64"/>
      </a:dk2>
      <a:lt2>
        <a:srgbClr val="FFFFFF"/>
      </a:lt2>
      <a:accent1>
        <a:srgbClr val="0B61FF"/>
      </a:accent1>
      <a:accent2>
        <a:srgbClr val="8BE1FA"/>
      </a:accent2>
      <a:accent3>
        <a:srgbClr val="7DEDB5"/>
      </a:accent3>
      <a:accent4>
        <a:srgbClr val="A89FFF"/>
      </a:accent4>
      <a:accent5>
        <a:srgbClr val="F8EB55"/>
      </a:accent5>
      <a:accent6>
        <a:srgbClr val="EAEAEA"/>
      </a:accent6>
      <a:hlink>
        <a:srgbClr val="0B61FF"/>
      </a:hlink>
      <a:folHlink>
        <a:srgbClr val="112F64"/>
      </a:folHlink>
    </a:clrScheme>
    <a:fontScheme name="Custom 1">
      <a:majorFont>
        <a:latin typeface="Montserrat Ligh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dirty="0" smtClean="0"/>
        </a:defPPr>
      </a:lstStyle>
    </a:txDef>
  </a:objectDefaults>
  <a:extraClrSchemeLst/>
  <a:custClrLst>
    <a:custClr name="Warm 1">
      <a:srgbClr val="F7F7F7"/>
    </a:custClr>
    <a:custClr name="Warm 2">
      <a:srgbClr val="CCCCCC"/>
    </a:custClr>
    <a:custClr name="Warm 3">
      <a:srgbClr val="414141"/>
    </a:custClr>
    <a:custClr name="Warm 4">
      <a:srgbClr val="303030"/>
    </a:custClr>
    <a:custClr name="Warm 5">
      <a:srgbClr val="191919"/>
    </a:custClr>
    <a:custClr name="Cool 1">
      <a:srgbClr val="E6EAED"/>
    </a:custClr>
    <a:custClr name="Cool 2">
      <a:srgbClr val="A5AFB8"/>
    </a:custClr>
  </a:custClrLst>
  <a:extLst>
    <a:ext uri="{05A4C25C-085E-4340-85A3-A5531E510DB2}">
      <thm15:themeFamily xmlns:thm15="http://schemas.microsoft.com/office/thememl/2012/main" name="Updated_Program" id="{9F5C8DAE-83DA-4139-AEAF-6A0B1303DBCC}" vid="{BBA9A140-A6EB-47BC-A756-4BAD69273E3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7E4FFB8BBAB64DAD71ABC4037D05D7" ma:contentTypeVersion="18" ma:contentTypeDescription="Create a new document." ma:contentTypeScope="" ma:versionID="062afbd04931934cf652de33fe61e01a">
  <xsd:schema xmlns:xsd="http://www.w3.org/2001/XMLSchema" xmlns:xs="http://www.w3.org/2001/XMLSchema" xmlns:p="http://schemas.microsoft.com/office/2006/metadata/properties" xmlns:ns2="40e9b2b1-47a2-419f-b9f3-a64edfee8861" xmlns:ns3="f6c77997-693c-4dcc-b48c-df69b481f8d1" targetNamespace="http://schemas.microsoft.com/office/2006/metadata/properties" ma:root="true" ma:fieldsID="43b743cab63565e6b6744f466ae40d55" ns2:_="" ns3:_="">
    <xsd:import namespace="40e9b2b1-47a2-419f-b9f3-a64edfee8861"/>
    <xsd:import namespace="f6c77997-693c-4dcc-b48c-df69b481f8d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9b2b1-47a2-419f-b9f3-a64edfee88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659ed9d-ad71-4c80-a195-1badd75ace7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c77997-693c-4dcc-b48c-df69b481f8d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3456e64-6445-45ef-ae7e-0ca51fdbc6cd}" ma:internalName="TaxCatchAll" ma:showField="CatchAllData" ma:web="f6c77997-693c-4dcc-b48c-df69b481f8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6c77997-693c-4dcc-b48c-df69b481f8d1" xsi:nil="true"/>
    <lcf76f155ced4ddcb4097134ff3c332f xmlns="40e9b2b1-47a2-419f-b9f3-a64edfee886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15BD894-6402-4751-BF8E-C57EADDE33BA}"/>
</file>

<file path=customXml/itemProps2.xml><?xml version="1.0" encoding="utf-8"?>
<ds:datastoreItem xmlns:ds="http://schemas.openxmlformats.org/officeDocument/2006/customXml" ds:itemID="{75F6B2F8-807D-4B12-BDD8-D331B6E79A34}"/>
</file>

<file path=customXml/itemProps3.xml><?xml version="1.0" encoding="utf-8"?>
<ds:datastoreItem xmlns:ds="http://schemas.openxmlformats.org/officeDocument/2006/customXml" ds:itemID="{417CB581-5A5C-4998-B064-EAD74830D13E}"/>
</file>

<file path=docProps/app.xml><?xml version="1.0" encoding="utf-8"?>
<Properties xmlns="http://schemas.openxmlformats.org/officeDocument/2006/extended-properties" xmlns:vt="http://schemas.openxmlformats.org/officeDocument/2006/docPropsVTypes">
  <TotalTime>0</TotalTime>
  <Words>1008</Words>
  <Application>Microsoft Office PowerPoint</Application>
  <PresentationFormat>Widescreen</PresentationFormat>
  <Paragraphs>144</Paragraphs>
  <Slides>6</Slides>
  <Notes>6</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4" baseType="lpstr">
      <vt:lpstr>Aptos</vt:lpstr>
      <vt:lpstr>Arial</vt:lpstr>
      <vt:lpstr>Calibri</vt:lpstr>
      <vt:lpstr>Courier New</vt:lpstr>
      <vt:lpstr>Montserrat</vt:lpstr>
      <vt:lpstr>Montserrat Light</vt:lpstr>
      <vt:lpstr>Montserrat Medium</vt:lpstr>
      <vt:lpstr>Montserrat SemiBold</vt:lpstr>
      <vt:lpstr>Muli</vt:lpstr>
      <vt:lpstr>Mulish Black</vt:lpstr>
      <vt:lpstr>Noto Sans Symbols</vt:lpstr>
      <vt:lpstr>Roboto</vt:lpstr>
      <vt:lpstr>System Font Regular</vt:lpstr>
      <vt:lpstr>1_Comcast Business</vt:lpstr>
      <vt:lpstr>Theme1</vt:lpstr>
      <vt:lpstr>5_Comcast Business</vt:lpstr>
      <vt:lpstr>Updated_Program</vt:lpstr>
      <vt:lpstr>think-cell Slide</vt:lpstr>
      <vt:lpstr>Comcast Business  Advanced Security Solutions</vt:lpstr>
      <vt:lpstr>NIST Cybersecurity Framework</vt:lpstr>
      <vt:lpstr>PowerPoint Presentation</vt:lpstr>
      <vt:lpstr>How the Security Operations Center (SOC) Works</vt:lpstr>
      <vt:lpstr>Protecting the Endpoint </vt:lpstr>
      <vt:lpstr>MDR Featu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orn, Richard</dc:creator>
  <cp:lastModifiedBy>Korn, Richard</cp:lastModifiedBy>
  <cp:revision>1</cp:revision>
  <dcterms:created xsi:type="dcterms:W3CDTF">2025-01-17T20:04:51Z</dcterms:created>
  <dcterms:modified xsi:type="dcterms:W3CDTF">2025-01-17T20:2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5652fe2-2b59-4d95-925c-ee86d789ff67_Enabled">
    <vt:lpwstr>true</vt:lpwstr>
  </property>
  <property fmtid="{D5CDD505-2E9C-101B-9397-08002B2CF9AE}" pid="3" name="MSIP_Label_15652fe2-2b59-4d95-925c-ee86d789ff67_SetDate">
    <vt:lpwstr>2025-01-17T20:20:38Z</vt:lpwstr>
  </property>
  <property fmtid="{D5CDD505-2E9C-101B-9397-08002B2CF9AE}" pid="4" name="MSIP_Label_15652fe2-2b59-4d95-925c-ee86d789ff67_Method">
    <vt:lpwstr>Privileged</vt:lpwstr>
  </property>
  <property fmtid="{D5CDD505-2E9C-101B-9397-08002B2CF9AE}" pid="5" name="MSIP_Label_15652fe2-2b59-4d95-925c-ee86d789ff67_Name">
    <vt:lpwstr>Confidential (C)</vt:lpwstr>
  </property>
  <property fmtid="{D5CDD505-2E9C-101B-9397-08002B2CF9AE}" pid="6" name="MSIP_Label_15652fe2-2b59-4d95-925c-ee86d789ff67_SiteId">
    <vt:lpwstr>906aefe9-76a7-4f65-b82d-5ec20775d5aa</vt:lpwstr>
  </property>
  <property fmtid="{D5CDD505-2E9C-101B-9397-08002B2CF9AE}" pid="7" name="MSIP_Label_15652fe2-2b59-4d95-925c-ee86d789ff67_ActionId">
    <vt:lpwstr>6b8379e9-a1a7-480b-8d83-82349a2d8160</vt:lpwstr>
  </property>
  <property fmtid="{D5CDD505-2E9C-101B-9397-08002B2CF9AE}" pid="8" name="MSIP_Label_15652fe2-2b59-4d95-925c-ee86d789ff67_ContentBits">
    <vt:lpwstr>0</vt:lpwstr>
  </property>
  <property fmtid="{D5CDD505-2E9C-101B-9397-08002B2CF9AE}" pid="9" name="ContentTypeId">
    <vt:lpwstr>0x010100367E4FFB8BBAB64DAD71ABC4037D05D7</vt:lpwstr>
  </property>
</Properties>
</file>